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58" r:id="rId5"/>
  </p:sldMasterIdLst>
  <p:notesMasterIdLst>
    <p:notesMasterId r:id="rId9"/>
  </p:notesMasterIdLst>
  <p:handoutMasterIdLst>
    <p:handoutMasterId r:id="rId10"/>
  </p:handoutMasterIdLst>
  <p:sldIdLst>
    <p:sldId id="811" r:id="rId6"/>
    <p:sldId id="777" r:id="rId7"/>
    <p:sldId id="800" r:id="rId8"/>
  </p:sldIdLst>
  <p:sldSz cx="12192000" cy="6858000"/>
  <p:notesSz cx="7315200" cy="9601200"/>
  <p:custDataLst>
    <p:tags r:id="rId1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lley, Gary P" initials="GK" lastIdx="1" clrIdx="0">
    <p:extLst>
      <p:ext uri="{19B8F6BF-5375-455C-9EA6-DF929625EA0E}">
        <p15:presenceInfo xmlns:p15="http://schemas.microsoft.com/office/powerpoint/2012/main" userId="Kelley, Gary P" providerId="None"/>
      </p:ext>
    </p:extLst>
  </p:cmAuthor>
  <p:cmAuthor id="2" name="Vallepalli, Thandava (US - Hermitage)" initials="VT(-H" lastIdx="13" clrIdx="1">
    <p:extLst>
      <p:ext uri="{19B8F6BF-5375-455C-9EA6-DF929625EA0E}">
        <p15:presenceInfo xmlns:p15="http://schemas.microsoft.com/office/powerpoint/2012/main" userId="S::tvallepalli@deloitte.com::61f37ead-8e94-430f-ab46-1cf20f09dc50" providerId="AD"/>
      </p:ext>
    </p:extLst>
  </p:cmAuthor>
  <p:cmAuthor id="3" name="Thotakura, Ashok" initials="TA" lastIdx="1" clrIdx="2">
    <p:extLst>
      <p:ext uri="{19B8F6BF-5375-455C-9EA6-DF929625EA0E}">
        <p15:presenceInfo xmlns:p15="http://schemas.microsoft.com/office/powerpoint/2012/main" userId="S::athotakura@deloitte.com::8def16fa-05a4-42f6-9097-35114c55c6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D600"/>
    <a:srgbClr val="FF9900"/>
    <a:srgbClr val="DB291C"/>
    <a:srgbClr val="000000"/>
    <a:srgbClr val="FFCD00"/>
    <a:srgbClr val="ED8B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B7D6F2-DA5E-4636-B826-4EE2CDA30786}" v="1280" vWet="1282" dt="2021-10-08T13:05:23.441"/>
    <p1510:client id="{69AA0F3A-711B-41B9-BC4E-E46AE18F28E6}" v="28" dt="2021-10-11T14:36:10.715"/>
    <p1510:client id="{BD8B308B-3AB0-4850-B196-EA60816149B8}" v="935" dt="2021-10-08T14:20:29.832"/>
    <p1510:client id="{E14B6CF7-66EB-4688-8A1B-01800DF82A8A}" v="81" dt="2021-10-08T20:32:20.9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1075" y="58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takura, Ashok" userId="8def16fa-05a4-42f6-9097-35114c55c601" providerId="ADAL" clId="{E2463EF4-9F30-4D9C-9FAB-49C25D61244E}"/>
    <pc:docChg chg="undo custSel modSld">
      <pc:chgData name="Thotakura, Ashok" userId="8def16fa-05a4-42f6-9097-35114c55c601" providerId="ADAL" clId="{E2463EF4-9F30-4D9C-9FAB-49C25D61244E}" dt="2020-10-08T12:45:15.781" v="514" actId="20577"/>
      <pc:docMkLst>
        <pc:docMk/>
      </pc:docMkLst>
      <pc:sldChg chg="addSp delSp modSp">
        <pc:chgData name="Thotakura, Ashok" userId="8def16fa-05a4-42f6-9097-35114c55c601" providerId="ADAL" clId="{E2463EF4-9F30-4D9C-9FAB-49C25D61244E}" dt="2020-10-08T12:44:05.001" v="502"/>
        <pc:sldMkLst>
          <pc:docMk/>
          <pc:sldMk cId="1764304501" sldId="473"/>
        </pc:sldMkLst>
        <pc:picChg chg="del">
          <ac:chgData name="Thotakura, Ashok" userId="8def16fa-05a4-42f6-9097-35114c55c601" providerId="ADAL" clId="{E2463EF4-9F30-4D9C-9FAB-49C25D61244E}" dt="2020-10-08T12:36:40.954" v="449" actId="478"/>
          <ac:picMkLst>
            <pc:docMk/>
            <pc:sldMk cId="1764304501" sldId="473"/>
            <ac:picMk id="3" creationId="{771D3A24-DD37-4C3D-9F28-1F35253F18AA}"/>
          </ac:picMkLst>
        </pc:picChg>
        <pc:picChg chg="add del">
          <ac:chgData name="Thotakura, Ashok" userId="8def16fa-05a4-42f6-9097-35114c55c601" providerId="ADAL" clId="{E2463EF4-9F30-4D9C-9FAB-49C25D61244E}" dt="2020-10-08T12:40:41.636" v="499" actId="478"/>
          <ac:picMkLst>
            <pc:docMk/>
            <pc:sldMk cId="1764304501" sldId="473"/>
            <ac:picMk id="6" creationId="{E9B252A1-4BE5-4897-BE2E-05E0938F1CB6}"/>
          </ac:picMkLst>
        </pc:picChg>
        <pc:picChg chg="add del">
          <ac:chgData name="Thotakura, Ashok" userId="8def16fa-05a4-42f6-9097-35114c55c601" providerId="ADAL" clId="{E2463EF4-9F30-4D9C-9FAB-49C25D61244E}" dt="2020-10-08T12:44:04.532" v="501" actId="478"/>
          <ac:picMkLst>
            <pc:docMk/>
            <pc:sldMk cId="1764304501" sldId="473"/>
            <ac:picMk id="7" creationId="{C0033417-C902-4111-A7D4-D2FEAF4D23B8}"/>
          </ac:picMkLst>
        </pc:picChg>
        <pc:picChg chg="add">
          <ac:chgData name="Thotakura, Ashok" userId="8def16fa-05a4-42f6-9097-35114c55c601" providerId="ADAL" clId="{E2463EF4-9F30-4D9C-9FAB-49C25D61244E}" dt="2020-10-08T12:44:05.001" v="502"/>
          <ac:picMkLst>
            <pc:docMk/>
            <pc:sldMk cId="1764304501" sldId="473"/>
            <ac:picMk id="8" creationId="{DF757A7C-A4F6-4A95-BE59-98EDE9080E35}"/>
          </ac:picMkLst>
        </pc:picChg>
        <pc:inkChg chg="add">
          <ac:chgData name="Thotakura, Ashok" userId="8def16fa-05a4-42f6-9097-35114c55c601" providerId="ADAL" clId="{E2463EF4-9F30-4D9C-9FAB-49C25D61244E}" dt="2020-09-25T13:42:02.280" v="417" actId="9405"/>
          <ac:inkMkLst>
            <pc:docMk/>
            <pc:sldMk cId="1764304501" sldId="473"/>
            <ac:inkMk id="4" creationId="{F196C4B4-6FE3-4873-A3B4-0BE7F2F71266}"/>
          </ac:inkMkLst>
        </pc:inkChg>
        <pc:inkChg chg="add mod">
          <ac:chgData name="Thotakura, Ashok" userId="8def16fa-05a4-42f6-9097-35114c55c601" providerId="ADAL" clId="{E2463EF4-9F30-4D9C-9FAB-49C25D61244E}" dt="2020-10-08T12:36:53.163" v="498" actId="1038"/>
          <ac:inkMkLst>
            <pc:docMk/>
            <pc:sldMk cId="1764304501" sldId="473"/>
            <ac:inkMk id="5" creationId="{C1F4828D-40CA-4B0C-95D3-C9A2C48840ED}"/>
          </ac:inkMkLst>
        </pc:inkChg>
      </pc:sldChg>
      <pc:sldChg chg="modSp">
        <pc:chgData name="Thotakura, Ashok" userId="8def16fa-05a4-42f6-9097-35114c55c601" providerId="ADAL" clId="{E2463EF4-9F30-4D9C-9FAB-49C25D61244E}" dt="2020-09-25T13:40:29.925" v="412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E2463EF4-9F30-4D9C-9FAB-49C25D61244E}" dt="2020-09-25T13:40:29.925" v="412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addSp delSp modSp">
        <pc:chgData name="Thotakura, Ashok" userId="8def16fa-05a4-42f6-9097-35114c55c601" providerId="ADAL" clId="{E2463EF4-9F30-4D9C-9FAB-49C25D61244E}" dt="2020-10-08T12:45:15.781" v="514" actId="20577"/>
        <pc:sldMkLst>
          <pc:docMk/>
          <pc:sldMk cId="2307693630" sldId="630"/>
        </pc:sldMkLst>
        <pc:graphicFrameChg chg="mod modGraphic">
          <ac:chgData name="Thotakura, Ashok" userId="8def16fa-05a4-42f6-9097-35114c55c601" providerId="ADAL" clId="{E2463EF4-9F30-4D9C-9FAB-49C25D61244E}" dt="2020-10-08T12:45:15.781" v="514" actId="20577"/>
          <ac:graphicFrameMkLst>
            <pc:docMk/>
            <pc:sldMk cId="2307693630" sldId="630"/>
            <ac:graphicFrameMk id="3" creationId="{00000000-0000-0000-0000-000000000000}"/>
          </ac:graphicFrameMkLst>
        </pc:graphicFrameChg>
        <pc:inkChg chg="add del">
          <ac:chgData name="Thotakura, Ashok" userId="8def16fa-05a4-42f6-9097-35114c55c601" providerId="ADAL" clId="{E2463EF4-9F30-4D9C-9FAB-49C25D61244E}" dt="2020-09-25T13:43:07.285" v="422" actId="9405"/>
          <ac:inkMkLst>
            <pc:docMk/>
            <pc:sldMk cId="2307693630" sldId="630"/>
            <ac:inkMk id="7" creationId="{5A54A212-3913-405A-A80C-1D4A58B5D1F4}"/>
          </ac:inkMkLst>
        </pc:inkChg>
      </pc:sldChg>
      <pc:sldChg chg="addSp delSp">
        <pc:chgData name="Thotakura, Ashok" userId="8def16fa-05a4-42f6-9097-35114c55c601" providerId="ADAL" clId="{E2463EF4-9F30-4D9C-9FAB-49C25D61244E}" dt="2020-09-25T13:40:58.175" v="414" actId="9405"/>
        <pc:sldMkLst>
          <pc:docMk/>
          <pc:sldMk cId="1996427620" sldId="634"/>
        </pc:sldMkLst>
        <pc:picChg chg="add">
          <ac:chgData name="Thotakura, Ashok" userId="8def16fa-05a4-42f6-9097-35114c55c601" providerId="ADAL" clId="{E2463EF4-9F30-4D9C-9FAB-49C25D61244E}" dt="2020-09-25T10:43:19.817" v="366"/>
          <ac:picMkLst>
            <pc:docMk/>
            <pc:sldMk cId="1996427620" sldId="634"/>
            <ac:picMk id="3" creationId="{CF765812-C0F0-4158-8E87-0C9675002F1B}"/>
          </ac:picMkLst>
        </pc:picChg>
        <pc:picChg chg="del">
          <ac:chgData name="Thotakura, Ashok" userId="8def16fa-05a4-42f6-9097-35114c55c601" providerId="ADAL" clId="{E2463EF4-9F30-4D9C-9FAB-49C25D61244E}" dt="2020-09-25T10:43:18.873" v="365" actId="478"/>
          <ac:picMkLst>
            <pc:docMk/>
            <pc:sldMk cId="1996427620" sldId="634"/>
            <ac:picMk id="5" creationId="{F549E651-D0B3-4CBE-9B0B-141B98D62BF2}"/>
          </ac:picMkLst>
        </pc:picChg>
        <pc:inkChg chg="add">
          <ac:chgData name="Thotakura, Ashok" userId="8def16fa-05a4-42f6-9097-35114c55c601" providerId="ADAL" clId="{E2463EF4-9F30-4D9C-9FAB-49C25D61244E}" dt="2020-09-25T13:40:55.641" v="413" actId="9405"/>
          <ac:inkMkLst>
            <pc:docMk/>
            <pc:sldMk cId="1996427620" sldId="634"/>
            <ac:inkMk id="4" creationId="{2338521C-D339-4051-8832-84E1C4C3CC97}"/>
          </ac:inkMkLst>
        </pc:inkChg>
        <pc:inkChg chg="add del">
          <ac:chgData name="Thotakura, Ashok" userId="8def16fa-05a4-42f6-9097-35114c55c601" providerId="ADAL" clId="{E2463EF4-9F30-4D9C-9FAB-49C25D61244E}" dt="2020-09-25T10:44:56.154" v="370" actId="9405"/>
          <ac:inkMkLst>
            <pc:docMk/>
            <pc:sldMk cId="1996427620" sldId="634"/>
            <ac:inkMk id="4" creationId="{87C9305E-03AC-4937-86EE-CA1B317920E0}"/>
          </ac:inkMkLst>
        </pc:inkChg>
        <pc:inkChg chg="add">
          <ac:chgData name="Thotakura, Ashok" userId="8def16fa-05a4-42f6-9097-35114c55c601" providerId="ADAL" clId="{E2463EF4-9F30-4D9C-9FAB-49C25D61244E}" dt="2020-09-25T13:40:58.175" v="414" actId="9405"/>
          <ac:inkMkLst>
            <pc:docMk/>
            <pc:sldMk cId="1996427620" sldId="634"/>
            <ac:inkMk id="5" creationId="{433EE583-B45F-4511-A4AA-C9389F5EE882}"/>
          </ac:inkMkLst>
        </pc:inkChg>
      </pc:sldChg>
      <pc:sldChg chg="addSp delSp">
        <pc:chgData name="Thotakura, Ashok" userId="8def16fa-05a4-42f6-9097-35114c55c601" providerId="ADAL" clId="{E2463EF4-9F30-4D9C-9FAB-49C25D61244E}" dt="2020-09-25T13:41:15.678" v="416" actId="9405"/>
        <pc:sldMkLst>
          <pc:docMk/>
          <pc:sldMk cId="1231956484" sldId="639"/>
        </pc:sldMkLst>
        <pc:picChg chg="del">
          <ac:chgData name="Thotakura, Ashok" userId="8def16fa-05a4-42f6-9097-35114c55c601" providerId="ADAL" clId="{E2463EF4-9F30-4D9C-9FAB-49C25D61244E}" dt="2020-09-25T10:44:20.869" v="367" actId="478"/>
          <ac:picMkLst>
            <pc:docMk/>
            <pc:sldMk cId="1231956484" sldId="639"/>
            <ac:picMk id="3" creationId="{CE46B554-6593-4ACF-AE04-63A905DC88DA}"/>
          </ac:picMkLst>
        </pc:picChg>
        <pc:picChg chg="add">
          <ac:chgData name="Thotakura, Ashok" userId="8def16fa-05a4-42f6-9097-35114c55c601" providerId="ADAL" clId="{E2463EF4-9F30-4D9C-9FAB-49C25D61244E}" dt="2020-09-25T10:44:21.600" v="368"/>
          <ac:picMkLst>
            <pc:docMk/>
            <pc:sldMk cId="1231956484" sldId="639"/>
            <ac:picMk id="4" creationId="{92EDBA57-2365-4AB3-AFD9-4B3A5317C7F4}"/>
          </ac:picMkLst>
        </pc:picChg>
        <pc:inkChg chg="add">
          <ac:chgData name="Thotakura, Ashok" userId="8def16fa-05a4-42f6-9097-35114c55c601" providerId="ADAL" clId="{E2463EF4-9F30-4D9C-9FAB-49C25D61244E}" dt="2020-09-25T13:41:10.508" v="415" actId="9405"/>
          <ac:inkMkLst>
            <pc:docMk/>
            <pc:sldMk cId="1231956484" sldId="639"/>
            <ac:inkMk id="3" creationId="{DE72DFE4-9E13-454A-B6D9-3C06E82367D6}"/>
          </ac:inkMkLst>
        </pc:inkChg>
        <pc:inkChg chg="add">
          <ac:chgData name="Thotakura, Ashok" userId="8def16fa-05a4-42f6-9097-35114c55c601" providerId="ADAL" clId="{E2463EF4-9F30-4D9C-9FAB-49C25D61244E}" dt="2020-09-25T10:53:01.394" v="371" actId="9405"/>
          <ac:inkMkLst>
            <pc:docMk/>
            <pc:sldMk cId="1231956484" sldId="639"/>
            <ac:inkMk id="5" creationId="{F7AA4465-DA24-4E86-AF88-6A0100974FA3}"/>
          </ac:inkMkLst>
        </pc:inkChg>
        <pc:inkChg chg="add">
          <ac:chgData name="Thotakura, Ashok" userId="8def16fa-05a4-42f6-9097-35114c55c601" providerId="ADAL" clId="{E2463EF4-9F30-4D9C-9FAB-49C25D61244E}" dt="2020-09-25T10:53:12.351" v="372" actId="9405"/>
          <ac:inkMkLst>
            <pc:docMk/>
            <pc:sldMk cId="1231956484" sldId="639"/>
            <ac:inkMk id="6" creationId="{0E1FC086-C8CA-44E5-B32C-E446092CD82E}"/>
          </ac:inkMkLst>
        </pc:inkChg>
        <pc:inkChg chg="add">
          <ac:chgData name="Thotakura, Ashok" userId="8def16fa-05a4-42f6-9097-35114c55c601" providerId="ADAL" clId="{E2463EF4-9F30-4D9C-9FAB-49C25D61244E}" dt="2020-09-25T13:41:15.678" v="416" actId="9405"/>
          <ac:inkMkLst>
            <pc:docMk/>
            <pc:sldMk cId="1231956484" sldId="639"/>
            <ac:inkMk id="7" creationId="{2C027CF9-DCE3-4474-832A-4B530515537E}"/>
          </ac:inkMkLst>
        </pc:inkChg>
      </pc:sldChg>
      <pc:sldChg chg="addSp">
        <pc:chgData name="Thotakura, Ashok" userId="8def16fa-05a4-42f6-9097-35114c55c601" providerId="ADAL" clId="{E2463EF4-9F30-4D9C-9FAB-49C25D61244E}" dt="2020-09-25T13:42:42.482" v="420" actId="9405"/>
        <pc:sldMkLst>
          <pc:docMk/>
          <pc:sldMk cId="4286428914" sldId="643"/>
        </pc:sldMkLst>
        <pc:inkChg chg="add">
          <ac:chgData name="Thotakura, Ashok" userId="8def16fa-05a4-42f6-9097-35114c55c601" providerId="ADAL" clId="{E2463EF4-9F30-4D9C-9FAB-49C25D61244E}" dt="2020-09-25T13:42:40.808" v="419" actId="9405"/>
          <ac:inkMkLst>
            <pc:docMk/>
            <pc:sldMk cId="4286428914" sldId="643"/>
            <ac:inkMk id="4" creationId="{C3777A2A-B83C-419A-8728-66B511F1DA97}"/>
          </ac:inkMkLst>
        </pc:inkChg>
        <pc:inkChg chg="add">
          <ac:chgData name="Thotakura, Ashok" userId="8def16fa-05a4-42f6-9097-35114c55c601" providerId="ADAL" clId="{E2463EF4-9F30-4D9C-9FAB-49C25D61244E}" dt="2020-09-25T13:42:42.482" v="420" actId="9405"/>
          <ac:inkMkLst>
            <pc:docMk/>
            <pc:sldMk cId="4286428914" sldId="643"/>
            <ac:inkMk id="5" creationId="{79AF70BB-7E5A-4A04-AE70-0934952CCD99}"/>
          </ac:inkMkLst>
        </pc:inkChg>
      </pc:sldChg>
    </pc:docChg>
  </pc:docChgLst>
  <pc:docChgLst>
    <pc:chgData name="Vallepalli, Thandava" userId="61f37ead-8e94-430f-ab46-1cf20f09dc50" providerId="ADAL" clId="{0C15C710-7B05-49D4-A6B3-D244E2B60005}"/>
    <pc:docChg chg="undo custSel modSld">
      <pc:chgData name="Vallepalli, Thandava" userId="61f37ead-8e94-430f-ab46-1cf20f09dc50" providerId="ADAL" clId="{0C15C710-7B05-49D4-A6B3-D244E2B60005}" dt="2020-11-04T14:56:34.910" v="345" actId="113"/>
      <pc:docMkLst>
        <pc:docMk/>
      </pc:docMkLst>
      <pc:sldChg chg="addSp delSp modSp">
        <pc:chgData name="Vallepalli, Thandava" userId="61f37ead-8e94-430f-ab46-1cf20f09dc50" providerId="ADAL" clId="{0C15C710-7B05-49D4-A6B3-D244E2B60005}" dt="2020-11-04T13:36:23.454" v="291" actId="1076"/>
        <pc:sldMkLst>
          <pc:docMk/>
          <pc:sldMk cId="3772836641" sldId="474"/>
        </pc:sldMkLst>
        <pc:picChg chg="add mod">
          <ac:chgData name="Vallepalli, Thandava" userId="61f37ead-8e94-430f-ab46-1cf20f09dc50" providerId="ADAL" clId="{0C15C710-7B05-49D4-A6B3-D244E2B60005}" dt="2020-11-04T13:36:23.454" v="291" actId="1076"/>
          <ac:picMkLst>
            <pc:docMk/>
            <pc:sldMk cId="3772836641" sldId="474"/>
            <ac:picMk id="3" creationId="{6D944D10-05FA-4BE4-965E-33D44402B7F2}"/>
          </ac:picMkLst>
        </pc:picChg>
        <pc:picChg chg="del">
          <ac:chgData name="Vallepalli, Thandava" userId="61f37ead-8e94-430f-ab46-1cf20f09dc50" providerId="ADAL" clId="{0C15C710-7B05-49D4-A6B3-D244E2B60005}" dt="2020-11-04T13:36:14.867" v="288" actId="478"/>
          <ac:picMkLst>
            <pc:docMk/>
            <pc:sldMk cId="3772836641" sldId="474"/>
            <ac:picMk id="5" creationId="{151A274C-169F-409C-BDA1-058F6B858CBB}"/>
          </ac:picMkLst>
        </pc:picChg>
      </pc:sldChg>
      <pc:sldChg chg="modSp">
        <pc:chgData name="Vallepalli, Thandava" userId="61f37ead-8e94-430f-ab46-1cf20f09dc50" providerId="ADAL" clId="{0C15C710-7B05-49D4-A6B3-D244E2B60005}" dt="2020-11-04T14:56:34.910" v="345" actId="113"/>
        <pc:sldMkLst>
          <pc:docMk/>
          <pc:sldMk cId="1274569217" sldId="493"/>
        </pc:sldMkLst>
        <pc:spChg chg="mod">
          <ac:chgData name="Vallepalli, Thandava" userId="61f37ead-8e94-430f-ab46-1cf20f09dc50" providerId="ADAL" clId="{0C15C710-7B05-49D4-A6B3-D244E2B60005}" dt="2020-11-04T14:56:34.910" v="345" actId="113"/>
          <ac:spMkLst>
            <pc:docMk/>
            <pc:sldMk cId="1274569217" sldId="493"/>
            <ac:spMk id="4" creationId="{2CE7721F-90EF-468A-A56F-ADFA3D78AB68}"/>
          </ac:spMkLst>
        </pc:spChg>
      </pc:sldChg>
      <pc:sldChg chg="modSp">
        <pc:chgData name="Vallepalli, Thandava" userId="61f37ead-8e94-430f-ab46-1cf20f09dc50" providerId="ADAL" clId="{0C15C710-7B05-49D4-A6B3-D244E2B60005}" dt="2020-11-04T13:32:50.405" v="287" actId="6549"/>
        <pc:sldMkLst>
          <pc:docMk/>
          <pc:sldMk cId="653286514" sldId="517"/>
        </pc:sldMkLst>
        <pc:graphicFrameChg chg="modGraphic">
          <ac:chgData name="Vallepalli, Thandava" userId="61f37ead-8e94-430f-ab46-1cf20f09dc50" providerId="ADAL" clId="{0C15C710-7B05-49D4-A6B3-D244E2B60005}" dt="2020-11-04T13:32:50.405" v="287" actId="6549"/>
          <ac:graphicFrameMkLst>
            <pc:docMk/>
            <pc:sldMk cId="653286514" sldId="517"/>
            <ac:graphicFrameMk id="3" creationId="{00000000-0000-0000-0000-000000000000}"/>
          </ac:graphicFrameMkLst>
        </pc:graphicFrameChg>
      </pc:sldChg>
      <pc:sldChg chg="modSp">
        <pc:chgData name="Vallepalli, Thandava" userId="61f37ead-8e94-430f-ab46-1cf20f09dc50" providerId="ADAL" clId="{0C15C710-7B05-49D4-A6B3-D244E2B60005}" dt="2020-11-02T16:04:40.072" v="251" actId="20577"/>
        <pc:sldMkLst>
          <pc:docMk/>
          <pc:sldMk cId="2536241305" sldId="519"/>
        </pc:sldMkLst>
        <pc:graphicFrameChg chg="modGraphic">
          <ac:chgData name="Vallepalli, Thandava" userId="61f37ead-8e94-430f-ab46-1cf20f09dc50" providerId="ADAL" clId="{0C15C710-7B05-49D4-A6B3-D244E2B60005}" dt="2020-11-02T16:04:40.072" v="251" actId="20577"/>
          <ac:graphicFrameMkLst>
            <pc:docMk/>
            <pc:sldMk cId="2536241305" sldId="519"/>
            <ac:graphicFrameMk id="2" creationId="{655C2F71-081E-435D-B6CB-FDF84637D508}"/>
          </ac:graphicFrameMkLst>
        </pc:graphicFrameChg>
      </pc:sldChg>
      <pc:sldChg chg="modSp">
        <pc:chgData name="Vallepalli, Thandava" userId="61f37ead-8e94-430f-ab46-1cf20f09dc50" providerId="ADAL" clId="{0C15C710-7B05-49D4-A6B3-D244E2B60005}" dt="2020-11-02T16:01:16.648" v="89" actId="20577"/>
        <pc:sldMkLst>
          <pc:docMk/>
          <pc:sldMk cId="2601424541" sldId="624"/>
        </pc:sldMkLst>
        <pc:spChg chg="mod">
          <ac:chgData name="Vallepalli, Thandava" userId="61f37ead-8e94-430f-ab46-1cf20f09dc50" providerId="ADAL" clId="{0C15C710-7B05-49D4-A6B3-D244E2B60005}" dt="2020-11-02T16:01:16.648" v="89" actId="20577"/>
          <ac:spMkLst>
            <pc:docMk/>
            <pc:sldMk cId="2601424541" sldId="624"/>
            <ac:spMk id="32" creationId="{C49BBAAC-EFEB-BC43-A26F-7AA97981D3E9}"/>
          </ac:spMkLst>
        </pc:spChg>
      </pc:sldChg>
      <pc:sldChg chg="modSp modNotesTx">
        <pc:chgData name="Vallepalli, Thandava" userId="61f37ead-8e94-430f-ab46-1cf20f09dc50" providerId="ADAL" clId="{0C15C710-7B05-49D4-A6B3-D244E2B60005}" dt="2020-11-04T13:13:55.950" v="280" actId="20577"/>
        <pc:sldMkLst>
          <pc:docMk/>
          <pc:sldMk cId="954719197" sldId="626"/>
        </pc:sldMkLst>
        <pc:spChg chg="mod">
          <ac:chgData name="Vallepalli, Thandava" userId="61f37ead-8e94-430f-ab46-1cf20f09dc50" providerId="ADAL" clId="{0C15C710-7B05-49D4-A6B3-D244E2B60005}" dt="2020-11-04T13:12:08.109" v="253" actId="113"/>
          <ac:spMkLst>
            <pc:docMk/>
            <pc:sldMk cId="954719197" sldId="626"/>
            <ac:spMk id="15" creationId="{074C2DA8-19CE-D045-9434-5C5AB311BB25}"/>
          </ac:spMkLst>
        </pc:spChg>
        <pc:spChg chg="mod">
          <ac:chgData name="Vallepalli, Thandava" userId="61f37ead-8e94-430f-ab46-1cf20f09dc50" providerId="ADAL" clId="{0C15C710-7B05-49D4-A6B3-D244E2B60005}" dt="2020-11-04T13:13:55.950" v="280" actId="20577"/>
          <ac:spMkLst>
            <pc:docMk/>
            <pc:sldMk cId="954719197" sldId="626"/>
            <ac:spMk id="16" creationId="{36A79F1E-03AC-B642-8C06-6A7AF071D418}"/>
          </ac:spMkLst>
        </pc:spChg>
        <pc:spChg chg="mod">
          <ac:chgData name="Vallepalli, Thandava" userId="61f37ead-8e94-430f-ab46-1cf20f09dc50" providerId="ADAL" clId="{0C15C710-7B05-49D4-A6B3-D244E2B60005}" dt="2020-11-02T15:39:15.273" v="69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addSp delSp modSp">
        <pc:chgData name="Vallepalli, Thandava" userId="61f37ead-8e94-430f-ab46-1cf20f09dc50" providerId="ADAL" clId="{0C15C710-7B05-49D4-A6B3-D244E2B60005}" dt="2020-11-04T14:24:38.583" v="327" actId="1036"/>
        <pc:sldMkLst>
          <pc:docMk/>
          <pc:sldMk cId="1996427620" sldId="634"/>
        </pc:sldMkLst>
        <pc:picChg chg="del">
          <ac:chgData name="Vallepalli, Thandava" userId="61f37ead-8e94-430f-ab46-1cf20f09dc50" providerId="ADAL" clId="{0C15C710-7B05-49D4-A6B3-D244E2B60005}" dt="2020-11-04T14:24:08.237" v="315" actId="478"/>
          <ac:picMkLst>
            <pc:docMk/>
            <pc:sldMk cId="1996427620" sldId="634"/>
            <ac:picMk id="3" creationId="{CF765812-C0F0-4158-8E87-0C9675002F1B}"/>
          </ac:picMkLst>
        </pc:picChg>
        <pc:picChg chg="add mod">
          <ac:chgData name="Vallepalli, Thandava" userId="61f37ead-8e94-430f-ab46-1cf20f09dc50" providerId="ADAL" clId="{0C15C710-7B05-49D4-A6B3-D244E2B60005}" dt="2020-11-04T14:24:38.583" v="327" actId="1036"/>
          <ac:picMkLst>
            <pc:docMk/>
            <pc:sldMk cId="1996427620" sldId="634"/>
            <ac:picMk id="6" creationId="{F5426EA6-51BD-438D-95CA-7AD4A241AE81}"/>
          </ac:picMkLst>
        </pc:picChg>
        <pc:inkChg chg="del">
          <ac:chgData name="Vallepalli, Thandava" userId="61f37ead-8e94-430f-ab46-1cf20f09dc50" providerId="ADAL" clId="{0C15C710-7B05-49D4-A6B3-D244E2B60005}" dt="2020-11-04T14:24:22.050" v="317" actId="478"/>
          <ac:inkMkLst>
            <pc:docMk/>
            <pc:sldMk cId="1996427620" sldId="634"/>
            <ac:inkMk id="4" creationId="{2338521C-D339-4051-8832-84E1C4C3CC97}"/>
          </ac:inkMkLst>
        </pc:inkChg>
        <pc:inkChg chg="del">
          <ac:chgData name="Vallepalli, Thandava" userId="61f37ead-8e94-430f-ab46-1cf20f09dc50" providerId="ADAL" clId="{0C15C710-7B05-49D4-A6B3-D244E2B60005}" dt="2020-11-04T14:24:13.337" v="316" actId="478"/>
          <ac:inkMkLst>
            <pc:docMk/>
            <pc:sldMk cId="1996427620" sldId="634"/>
            <ac:inkMk id="5" creationId="{433EE583-B45F-4511-A4AA-C9389F5EE882}"/>
          </ac:inkMkLst>
        </pc:inkChg>
      </pc:sldChg>
      <pc:sldChg chg="addSp delSp modSp">
        <pc:chgData name="Vallepalli, Thandava" userId="61f37ead-8e94-430f-ab46-1cf20f09dc50" providerId="ADAL" clId="{0C15C710-7B05-49D4-A6B3-D244E2B60005}" dt="2020-11-04T13:37:33.071" v="314" actId="1038"/>
        <pc:sldMkLst>
          <pc:docMk/>
          <pc:sldMk cId="2324831811" sldId="642"/>
        </pc:sldMkLst>
        <pc:picChg chg="del">
          <ac:chgData name="Vallepalli, Thandava" userId="61f37ead-8e94-430f-ab46-1cf20f09dc50" providerId="ADAL" clId="{0C15C710-7B05-49D4-A6B3-D244E2B60005}" dt="2020-11-04T13:37:19.080" v="292" actId="478"/>
          <ac:picMkLst>
            <pc:docMk/>
            <pc:sldMk cId="2324831811" sldId="642"/>
            <ac:picMk id="3" creationId="{49A0145C-D610-4116-A648-1F6A1CA5054D}"/>
          </ac:picMkLst>
        </pc:picChg>
        <pc:picChg chg="add mod">
          <ac:chgData name="Vallepalli, Thandava" userId="61f37ead-8e94-430f-ab46-1cf20f09dc50" providerId="ADAL" clId="{0C15C710-7B05-49D4-A6B3-D244E2B60005}" dt="2020-11-04T13:37:33.071" v="314" actId="1038"/>
          <ac:picMkLst>
            <pc:docMk/>
            <pc:sldMk cId="2324831811" sldId="642"/>
            <ac:picMk id="4" creationId="{57173D98-3895-473B-A93D-612AE690F8BB}"/>
          </ac:picMkLst>
        </pc:picChg>
      </pc:sldChg>
    </pc:docChg>
  </pc:docChgLst>
  <pc:docChgLst>
    <pc:chgData name="Vallepalli, Thandava" userId="61f37ead-8e94-430f-ab46-1cf20f09dc50" providerId="ADAL" clId="{64A4E841-34FF-4F04-B978-573E27D0813F}"/>
    <pc:docChg chg="custSel addSld modSld sldOrd">
      <pc:chgData name="Vallepalli, Thandava" userId="61f37ead-8e94-430f-ab46-1cf20f09dc50" providerId="ADAL" clId="{64A4E841-34FF-4F04-B978-573E27D0813F}" dt="2021-02-22T13:01:47.674" v="158" actId="1038"/>
      <pc:docMkLst>
        <pc:docMk/>
      </pc:docMkLst>
      <pc:sldChg chg="modSp mod">
        <pc:chgData name="Vallepalli, Thandava" userId="61f37ead-8e94-430f-ab46-1cf20f09dc50" providerId="ADAL" clId="{64A4E841-34FF-4F04-B978-573E27D0813F}" dt="2021-02-22T13:01:47.674" v="158" actId="1038"/>
        <pc:sldMkLst>
          <pc:docMk/>
          <pc:sldMk cId="954719197" sldId="626"/>
        </pc:sldMkLst>
        <pc:spChg chg="mod">
          <ac:chgData name="Vallepalli, Thandava" userId="61f37ead-8e94-430f-ab46-1cf20f09dc50" providerId="ADAL" clId="{64A4E841-34FF-4F04-B978-573E27D0813F}" dt="2021-02-19T01:15:32.411" v="1" actId="20577"/>
          <ac:spMkLst>
            <pc:docMk/>
            <pc:sldMk cId="954719197" sldId="626"/>
            <ac:spMk id="15" creationId="{074C2DA8-19CE-D045-9434-5C5AB311BB25}"/>
          </ac:spMkLst>
        </pc:spChg>
        <pc:spChg chg="mod">
          <ac:chgData name="Vallepalli, Thandava" userId="61f37ead-8e94-430f-ab46-1cf20f09dc50" providerId="ADAL" clId="{64A4E841-34FF-4F04-B978-573E27D0813F}" dt="2021-02-22T13:01:47.674" v="158" actId="1038"/>
          <ac:spMkLst>
            <pc:docMk/>
            <pc:sldMk cId="954719197" sldId="626"/>
            <ac:spMk id="17" creationId="{C4353D8C-2FE4-404C-B620-F2FDADF7A733}"/>
          </ac:spMkLst>
        </pc:spChg>
      </pc:sldChg>
      <pc:sldChg chg="addSp delSp modSp mod modNotesTx">
        <pc:chgData name="Vallepalli, Thandava" userId="61f37ead-8e94-430f-ab46-1cf20f09dc50" providerId="ADAL" clId="{64A4E841-34FF-4F04-B978-573E27D0813F}" dt="2021-02-22T13:01:24.118" v="134" actId="20577"/>
        <pc:sldMkLst>
          <pc:docMk/>
          <pc:sldMk cId="4267676092" sldId="653"/>
        </pc:sldMkLst>
        <pc:spChg chg="mod">
          <ac:chgData name="Vallepalli, Thandava" userId="61f37ead-8e94-430f-ab46-1cf20f09dc50" providerId="ADAL" clId="{64A4E841-34FF-4F04-B978-573E27D0813F}" dt="2021-02-22T13:01:24.118" v="134" actId="20577"/>
          <ac:spMkLst>
            <pc:docMk/>
            <pc:sldMk cId="4267676092" sldId="653"/>
            <ac:spMk id="13" creationId="{DC998C0D-D063-47CC-AAE2-B51820FAD883}"/>
          </ac:spMkLst>
        </pc:spChg>
        <pc:picChg chg="add del">
          <ac:chgData name="Vallepalli, Thandava" userId="61f37ead-8e94-430f-ab46-1cf20f09dc50" providerId="ADAL" clId="{64A4E841-34FF-4F04-B978-573E27D0813F}" dt="2021-02-19T06:28:04.090" v="7" actId="478"/>
          <ac:picMkLst>
            <pc:docMk/>
            <pc:sldMk cId="4267676092" sldId="653"/>
            <ac:picMk id="4" creationId="{14D04161-E503-49DC-8B71-DEC4D5AC0247}"/>
          </ac:picMkLst>
        </pc:picChg>
        <pc:picChg chg="add del">
          <ac:chgData name="Vallepalli, Thandava" userId="61f37ead-8e94-430f-ab46-1cf20f09dc50" providerId="ADAL" clId="{64A4E841-34FF-4F04-B978-573E27D0813F}" dt="2021-02-19T06:31:28.437" v="9" actId="478"/>
          <ac:picMkLst>
            <pc:docMk/>
            <pc:sldMk cId="4267676092" sldId="653"/>
            <ac:picMk id="6" creationId="{C10BB409-4A8B-4181-8715-2BD52BC6E172}"/>
          </ac:picMkLst>
        </pc:picChg>
        <pc:picChg chg="add mod">
          <ac:chgData name="Vallepalli, Thandava" userId="61f37ead-8e94-430f-ab46-1cf20f09dc50" providerId="ADAL" clId="{64A4E841-34FF-4F04-B978-573E27D0813F}" dt="2021-02-19T06:31:45.012" v="11" actId="1038"/>
          <ac:picMkLst>
            <pc:docMk/>
            <pc:sldMk cId="4267676092" sldId="653"/>
            <ac:picMk id="8" creationId="{84388DF0-FABA-4BE1-B470-8C98F26896E1}"/>
          </ac:picMkLst>
        </pc:picChg>
        <pc:picChg chg="del">
          <ac:chgData name="Vallepalli, Thandava" userId="61f37ead-8e94-430f-ab46-1cf20f09dc50" providerId="ADAL" clId="{64A4E841-34FF-4F04-B978-573E27D0813F}" dt="2021-02-19T06:21:17.531" v="3" actId="478"/>
          <ac:picMkLst>
            <pc:docMk/>
            <pc:sldMk cId="4267676092" sldId="653"/>
            <ac:picMk id="14" creationId="{8793B654-C468-4CB6-9097-4123A7C7F48B}"/>
          </ac:picMkLst>
        </pc:picChg>
      </pc:sldChg>
      <pc:sldChg chg="add ord">
        <pc:chgData name="Vallepalli, Thandava" userId="61f37ead-8e94-430f-ab46-1cf20f09dc50" providerId="ADAL" clId="{64A4E841-34FF-4F04-B978-573E27D0813F}" dt="2021-02-19T06:21:41.810" v="6"/>
        <pc:sldMkLst>
          <pc:docMk/>
          <pc:sldMk cId="3520330381" sldId="665"/>
        </pc:sldMkLst>
      </pc:sldChg>
    </pc:docChg>
  </pc:docChgLst>
  <pc:docChgLst>
    <pc:chgData name="Thotakura, Ashok" userId="8def16fa-05a4-42f6-9097-35114c55c601" providerId="ADAL" clId="{CC1EDFD6-D2BD-4D9D-90CE-EDCF9A33D694}"/>
    <pc:docChg chg="modSld">
      <pc:chgData name="Thotakura, Ashok" userId="8def16fa-05a4-42f6-9097-35114c55c601" providerId="ADAL" clId="{CC1EDFD6-D2BD-4D9D-90CE-EDCF9A33D694}" dt="2020-09-07T11:58:43.237" v="3" actId="20577"/>
      <pc:docMkLst>
        <pc:docMk/>
      </pc:docMkLst>
      <pc:sldChg chg="modSp">
        <pc:chgData name="Thotakura, Ashok" userId="8def16fa-05a4-42f6-9097-35114c55c601" providerId="ADAL" clId="{CC1EDFD6-D2BD-4D9D-90CE-EDCF9A33D694}" dt="2020-09-07T11:58:43.237" v="3" actId="20577"/>
        <pc:sldMkLst>
          <pc:docMk/>
          <pc:sldMk cId="1274569217" sldId="493"/>
        </pc:sldMkLst>
        <pc:graphicFrameChg chg="modGraphic">
          <ac:chgData name="Thotakura, Ashok" userId="8def16fa-05a4-42f6-9097-35114c55c601" providerId="ADAL" clId="{CC1EDFD6-D2BD-4D9D-90CE-EDCF9A33D694}" dt="2020-09-07T11:58:43.237" v="3" actId="20577"/>
          <ac:graphicFrameMkLst>
            <pc:docMk/>
            <pc:sldMk cId="1274569217" sldId="493"/>
            <ac:graphicFrameMk id="7" creationId="{00000000-0000-0000-0000-000000000000}"/>
          </ac:graphicFrameMkLst>
        </pc:graphicFrameChg>
      </pc:sldChg>
    </pc:docChg>
  </pc:docChgLst>
  <pc:docChgLst>
    <pc:chgData name="Vallepalli, Thandava" userId="61f37ead-8e94-430f-ab46-1cf20f09dc50" providerId="ADAL" clId="{02E9892E-645F-453A-BD74-D657882C6676}"/>
    <pc:docChg chg="custSel addSld modSld sldOrd">
      <pc:chgData name="Vallepalli, Thandava" userId="61f37ead-8e94-430f-ab46-1cf20f09dc50" providerId="ADAL" clId="{02E9892E-645F-453A-BD74-D657882C6676}" dt="2020-11-18T13:51:08.722" v="27"/>
      <pc:docMkLst>
        <pc:docMk/>
      </pc:docMkLst>
      <pc:sldChg chg="modSp mod">
        <pc:chgData name="Vallepalli, Thandava" userId="61f37ead-8e94-430f-ab46-1cf20f09dc50" providerId="ADAL" clId="{02E9892E-645F-453A-BD74-D657882C6676}" dt="2020-11-18T13:51:08.722" v="27"/>
        <pc:sldMkLst>
          <pc:docMk/>
          <pc:sldMk cId="2018669121" sldId="457"/>
        </pc:sldMkLst>
        <pc:spChg chg="mod">
          <ac:chgData name="Vallepalli, Thandava" userId="61f37ead-8e94-430f-ab46-1cf20f09dc50" providerId="ADAL" clId="{02E9892E-645F-453A-BD74-D657882C6676}" dt="2020-11-18T13:51:08.722" v="27"/>
          <ac:spMkLst>
            <pc:docMk/>
            <pc:sldMk cId="2018669121" sldId="457"/>
            <ac:spMk id="6" creationId="{AE8CBF6B-8B2C-4673-8FE9-34F3AEA9567B}"/>
          </ac:spMkLst>
        </pc:spChg>
      </pc:sldChg>
      <pc:sldChg chg="delSp mod">
        <pc:chgData name="Vallepalli, Thandava" userId="61f37ead-8e94-430f-ab46-1cf20f09dc50" providerId="ADAL" clId="{02E9892E-645F-453A-BD74-D657882C6676}" dt="2020-11-18T12:40:16.464" v="26" actId="478"/>
        <pc:sldMkLst>
          <pc:docMk/>
          <pc:sldMk cId="1764304501" sldId="473"/>
        </pc:sldMkLst>
        <pc:inkChg chg="del">
          <ac:chgData name="Vallepalli, Thandava" userId="61f37ead-8e94-430f-ab46-1cf20f09dc50" providerId="ADAL" clId="{02E9892E-645F-453A-BD74-D657882C6676}" dt="2020-11-18T12:40:16.464" v="26" actId="478"/>
          <ac:inkMkLst>
            <pc:docMk/>
            <pc:sldMk cId="1764304501" sldId="473"/>
            <ac:inkMk id="5" creationId="{C1F4828D-40CA-4B0C-95D3-C9A2C48840ED}"/>
          </ac:inkMkLst>
        </pc:inkChg>
      </pc:sldChg>
      <pc:sldChg chg="addSp delSp modSp mod">
        <pc:chgData name="Vallepalli, Thandava" userId="61f37ead-8e94-430f-ab46-1cf20f09dc50" providerId="ADAL" clId="{02E9892E-645F-453A-BD74-D657882C6676}" dt="2020-11-18T12:29:20.276" v="21" actId="9405"/>
        <pc:sldMkLst>
          <pc:docMk/>
          <pc:sldMk cId="1231956484" sldId="639"/>
        </pc:sldMkLst>
        <pc:picChg chg="del">
          <ac:chgData name="Vallepalli, Thandava" userId="61f37ead-8e94-430f-ab46-1cf20f09dc50" providerId="ADAL" clId="{02E9892E-645F-453A-BD74-D657882C6676}" dt="2020-11-18T12:27:27.189" v="1" actId="478"/>
          <ac:picMkLst>
            <pc:docMk/>
            <pc:sldMk cId="1231956484" sldId="639"/>
            <ac:picMk id="4" creationId="{92EDBA57-2365-4AB3-AFD9-4B3A5317C7F4}"/>
          </ac:picMkLst>
        </pc:picChg>
        <pc:picChg chg="add del">
          <ac:chgData name="Vallepalli, Thandava" userId="61f37ead-8e94-430f-ab46-1cf20f09dc50" providerId="ADAL" clId="{02E9892E-645F-453A-BD74-D657882C6676}" dt="2020-11-18T12:27:47.742" v="3" actId="478"/>
          <ac:picMkLst>
            <pc:docMk/>
            <pc:sldMk cId="1231956484" sldId="639"/>
            <ac:picMk id="9" creationId="{20DE7172-768E-4D9E-9F28-40F6AD47FFAA}"/>
          </ac:picMkLst>
        </pc:picChg>
        <pc:picChg chg="add mod ord">
          <ac:chgData name="Vallepalli, Thandava" userId="61f37ead-8e94-430f-ab46-1cf20f09dc50" providerId="ADAL" clId="{02E9892E-645F-453A-BD74-D657882C6676}" dt="2020-11-18T12:29:00.908" v="20" actId="1076"/>
          <ac:picMkLst>
            <pc:docMk/>
            <pc:sldMk cId="1231956484" sldId="639"/>
            <ac:picMk id="11" creationId="{4B181E07-02D1-4325-AE43-E2112CD48319}"/>
          </ac:picMkLst>
        </pc:picChg>
        <pc:inkChg chg="del">
          <ac:chgData name="Vallepalli, Thandava" userId="61f37ead-8e94-430f-ab46-1cf20f09dc50" providerId="ADAL" clId="{02E9892E-645F-453A-BD74-D657882C6676}" dt="2020-11-18T12:28:47.678" v="16" actId="478"/>
          <ac:inkMkLst>
            <pc:docMk/>
            <pc:sldMk cId="1231956484" sldId="639"/>
            <ac:inkMk id="3" creationId="{DE72DFE4-9E13-454A-B6D9-3C06E82367D6}"/>
          </ac:inkMkLst>
        </pc:inkChg>
        <pc:inkChg chg="del">
          <ac:chgData name="Vallepalli, Thandava" userId="61f37ead-8e94-430f-ab46-1cf20f09dc50" providerId="ADAL" clId="{02E9892E-645F-453A-BD74-D657882C6676}" dt="2020-11-18T12:28:47.678" v="16" actId="478"/>
          <ac:inkMkLst>
            <pc:docMk/>
            <pc:sldMk cId="1231956484" sldId="639"/>
            <ac:inkMk id="5" creationId="{F7AA4465-DA24-4E86-AF88-6A0100974FA3}"/>
          </ac:inkMkLst>
        </pc:inkChg>
        <pc:inkChg chg="del mod ord">
          <ac:chgData name="Vallepalli, Thandava" userId="61f37ead-8e94-430f-ab46-1cf20f09dc50" providerId="ADAL" clId="{02E9892E-645F-453A-BD74-D657882C6676}" dt="2020-11-18T12:28:47.678" v="16" actId="478"/>
          <ac:inkMkLst>
            <pc:docMk/>
            <pc:sldMk cId="1231956484" sldId="639"/>
            <ac:inkMk id="6" creationId="{0E1FC086-C8CA-44E5-B32C-E446092CD82E}"/>
          </ac:inkMkLst>
        </pc:inkChg>
        <pc:inkChg chg="del mod ord">
          <ac:chgData name="Vallepalli, Thandava" userId="61f37ead-8e94-430f-ab46-1cf20f09dc50" providerId="ADAL" clId="{02E9892E-645F-453A-BD74-D657882C6676}" dt="2020-11-18T12:28:47.678" v="16" actId="478"/>
          <ac:inkMkLst>
            <pc:docMk/>
            <pc:sldMk cId="1231956484" sldId="639"/>
            <ac:inkMk id="7" creationId="{2C027CF9-DCE3-4474-832A-4B530515537E}"/>
          </ac:inkMkLst>
        </pc:inkChg>
        <pc:inkChg chg="add">
          <ac:chgData name="Vallepalli, Thandava" userId="61f37ead-8e94-430f-ab46-1cf20f09dc50" providerId="ADAL" clId="{02E9892E-645F-453A-BD74-D657882C6676}" dt="2020-11-18T12:29:20.276" v="21" actId="9405"/>
          <ac:inkMkLst>
            <pc:docMk/>
            <pc:sldMk cId="1231956484" sldId="639"/>
            <ac:inkMk id="12" creationId="{20DB8C56-AEF7-4429-B49E-8EAF83BFA16A}"/>
          </ac:inkMkLst>
        </pc:inkChg>
      </pc:sldChg>
      <pc:sldChg chg="add ord">
        <pc:chgData name="Vallepalli, Thandava" userId="61f37ead-8e94-430f-ab46-1cf20f09dc50" providerId="ADAL" clId="{02E9892E-645F-453A-BD74-D657882C6676}" dt="2020-11-18T12:33:45.831" v="25"/>
        <pc:sldMkLst>
          <pc:docMk/>
          <pc:sldMk cId="4153828367" sldId="645"/>
        </pc:sldMkLst>
      </pc:sldChg>
    </pc:docChg>
  </pc:docChgLst>
  <pc:docChgLst>
    <pc:chgData name="Thotakura, Ashok" userId="8def16fa-05a4-42f6-9097-35114c55c601" providerId="ADAL" clId="{BD8B308B-3AB0-4850-B196-EA60816149B8}"/>
    <pc:docChg chg="undo custSel addSld delSld modSld sldOrd">
      <pc:chgData name="Thotakura, Ashok" userId="8def16fa-05a4-42f6-9097-35114c55c601" providerId="ADAL" clId="{BD8B308B-3AB0-4850-B196-EA60816149B8}" dt="2021-10-08T14:20:29.832" v="2082" actId="14100"/>
      <pc:docMkLst>
        <pc:docMk/>
      </pc:docMkLst>
      <pc:sldChg chg="modSp del mod">
        <pc:chgData name="Thotakura, Ashok" userId="8def16fa-05a4-42f6-9097-35114c55c601" providerId="ADAL" clId="{BD8B308B-3AB0-4850-B196-EA60816149B8}" dt="2021-09-27T08:32:55.618" v="845" actId="47"/>
        <pc:sldMkLst>
          <pc:docMk/>
          <pc:sldMk cId="2018669121" sldId="457"/>
        </pc:sldMkLst>
        <pc:spChg chg="mod">
          <ac:chgData name="Thotakura, Ashok" userId="8def16fa-05a4-42f6-9097-35114c55c601" providerId="ADAL" clId="{BD8B308B-3AB0-4850-B196-EA60816149B8}" dt="2021-09-20T12:53:08.917" v="812" actId="20577"/>
          <ac:spMkLst>
            <pc:docMk/>
            <pc:sldMk cId="2018669121" sldId="457"/>
            <ac:spMk id="4" creationId="{00000000-0000-0000-0000-000000000000}"/>
          </ac:spMkLst>
        </pc:spChg>
      </pc:sldChg>
      <pc:sldChg chg="del">
        <pc:chgData name="Thotakura, Ashok" userId="8def16fa-05a4-42f6-9097-35114c55c601" providerId="ADAL" clId="{BD8B308B-3AB0-4850-B196-EA60816149B8}" dt="2021-09-20T11:24:46.952" v="803" actId="47"/>
        <pc:sldMkLst>
          <pc:docMk/>
          <pc:sldMk cId="1764304501" sldId="473"/>
        </pc:sldMkLst>
      </pc:sldChg>
      <pc:sldChg chg="del">
        <pc:chgData name="Thotakura, Ashok" userId="8def16fa-05a4-42f6-9097-35114c55c601" providerId="ADAL" clId="{BD8B308B-3AB0-4850-B196-EA60816149B8}" dt="2021-09-20T11:25:28.081" v="810" actId="47"/>
        <pc:sldMkLst>
          <pc:docMk/>
          <pc:sldMk cId="1707806677" sldId="490"/>
        </pc:sldMkLst>
      </pc:sldChg>
      <pc:sldChg chg="del">
        <pc:chgData name="Thotakura, Ashok" userId="8def16fa-05a4-42f6-9097-35114c55c601" providerId="ADAL" clId="{BD8B308B-3AB0-4850-B196-EA60816149B8}" dt="2021-09-20T11:25:29.189" v="811" actId="47"/>
        <pc:sldMkLst>
          <pc:docMk/>
          <pc:sldMk cId="1112429422" sldId="515"/>
        </pc:sldMkLst>
      </pc:sldChg>
      <pc:sldChg chg="addSp delSp modSp mod modNotes">
        <pc:chgData name="Thotakura, Ashok" userId="8def16fa-05a4-42f6-9097-35114c55c601" providerId="ADAL" clId="{BD8B308B-3AB0-4850-B196-EA60816149B8}" dt="2021-10-08T13:05:13.587" v="1154" actId="27636"/>
        <pc:sldMkLst>
          <pc:docMk/>
          <pc:sldMk cId="954719197" sldId="626"/>
        </pc:sldMkLst>
        <pc:spChg chg="del mod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3" creationId="{1CB90A47-E22D-3A43-948A-28618787220D}"/>
          </ac:spMkLst>
        </pc:spChg>
        <pc:spChg chg="del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12" creationId="{06A5636D-4529-9742-91FB-7C2F9B299E21}"/>
          </ac:spMkLst>
        </pc:spChg>
        <pc:spChg chg="del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13" creationId="{5E144CDE-63CF-914B-8F1F-31603072C5FE}"/>
          </ac:spMkLst>
        </pc:spChg>
        <pc:spChg chg="del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14" creationId="{42CEB9B9-2F85-DF45-8503-E62A6CF031DD}"/>
          </ac:spMkLst>
        </pc:spChg>
        <pc:spChg chg="del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15" creationId="{074C2DA8-19CE-D045-9434-5C5AB311BB25}"/>
          </ac:spMkLst>
        </pc:spChg>
        <pc:spChg chg="del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16" creationId="{36A79F1E-03AC-B642-8C06-6A7AF071D418}"/>
          </ac:spMkLst>
        </pc:spChg>
        <pc:spChg chg="del">
          <ac:chgData name="Thotakura, Ashok" userId="8def16fa-05a4-42f6-9097-35114c55c601" providerId="ADAL" clId="{BD8B308B-3AB0-4850-B196-EA60816149B8}" dt="2021-09-22T09:48:09.505" v="827" actId="478"/>
          <ac:spMkLst>
            <pc:docMk/>
            <pc:sldMk cId="954719197" sldId="626"/>
            <ac:spMk id="17" creationId="{C4353D8C-2FE4-404C-B620-F2FDADF7A733}"/>
          </ac:spMkLst>
        </pc:spChg>
        <pc:spChg chg="add del mod">
          <ac:chgData name="Thotakura, Ashok" userId="8def16fa-05a4-42f6-9097-35114c55c601" providerId="ADAL" clId="{BD8B308B-3AB0-4850-B196-EA60816149B8}" dt="2021-09-22T09:48:15.792" v="830" actId="478"/>
          <ac:spMkLst>
            <pc:docMk/>
            <pc:sldMk cId="954719197" sldId="626"/>
            <ac:spMk id="18" creationId="{48DC3C16-4EFD-44A7-9C9C-20BE3069ACAA}"/>
          </ac:spMkLst>
        </pc:spChg>
        <pc:spChg chg="add 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19" creationId="{9C498306-908D-49B1-8638-D21CD70B6538}"/>
          </ac:spMkLst>
        </pc:spChg>
        <pc:spChg chg="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21" creationId="{300F2833-5953-4CCD-877B-1B028F2CCC6F}"/>
          </ac:spMkLst>
        </pc:spChg>
        <pc:spChg chg="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22" creationId="{D27DF39D-2FEA-4105-8088-49CD73EBDD8B}"/>
          </ac:spMkLst>
        </pc:spChg>
        <pc:spChg chg="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23" creationId="{25D95BE6-B7E0-4698-A9F6-C6E70CC3DDBB}"/>
          </ac:spMkLst>
        </pc:spChg>
        <pc:spChg chg="mod">
          <ac:chgData name="Thotakura, Ashok" userId="8def16fa-05a4-42f6-9097-35114c55c601" providerId="ADAL" clId="{BD8B308B-3AB0-4850-B196-EA60816149B8}" dt="2021-09-27T08:33:48.424" v="852" actId="14100"/>
          <ac:spMkLst>
            <pc:docMk/>
            <pc:sldMk cId="954719197" sldId="626"/>
            <ac:spMk id="25" creationId="{BB2DDA64-7600-4511-BFA8-7045FD2A2887}"/>
          </ac:spMkLst>
        </pc:spChg>
        <pc:spChg chg="mod">
          <ac:chgData name="Thotakura, Ashok" userId="8def16fa-05a4-42f6-9097-35114c55c601" providerId="ADAL" clId="{BD8B308B-3AB0-4850-B196-EA60816149B8}" dt="2021-09-27T08:33:29.411" v="850" actId="14100"/>
          <ac:spMkLst>
            <pc:docMk/>
            <pc:sldMk cId="954719197" sldId="626"/>
            <ac:spMk id="26" creationId="{32E3C4DC-403E-46D8-A1F8-B60D136C4519}"/>
          </ac:spMkLst>
        </pc:spChg>
        <pc:spChg chg="mod">
          <ac:chgData name="Thotakura, Ashok" userId="8def16fa-05a4-42f6-9097-35114c55c601" providerId="ADAL" clId="{BD8B308B-3AB0-4850-B196-EA60816149B8}" dt="2021-09-27T08:33:43.594" v="851" actId="14100"/>
          <ac:spMkLst>
            <pc:docMk/>
            <pc:sldMk cId="954719197" sldId="626"/>
            <ac:spMk id="27" creationId="{F20D6B1E-2EDD-47A6-AE0F-78544A6C4206}"/>
          </ac:spMkLst>
        </pc:spChg>
        <pc:spChg chg="add 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28" creationId="{110AEB63-5603-44C2-91B2-B80902C96DB4}"/>
          </ac:spMkLst>
        </pc:spChg>
        <pc:spChg chg="add 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29" creationId="{A1FD4F01-B52A-4B57-BFD5-A28641641F03}"/>
          </ac:spMkLst>
        </pc:spChg>
        <pc:spChg chg="add 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30" creationId="{6F1339AB-321B-4486-905F-91DD5B6D5DE6}"/>
          </ac:spMkLst>
        </pc:spChg>
        <pc:spChg chg="add 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31" creationId="{72355FB0-3FD5-432D-AF37-23EA69F8E407}"/>
          </ac:spMkLst>
        </pc:spChg>
        <pc:spChg chg="add mod">
          <ac:chgData name="Thotakura, Ashok" userId="8def16fa-05a4-42f6-9097-35114c55c601" providerId="ADAL" clId="{BD8B308B-3AB0-4850-B196-EA60816149B8}" dt="2021-09-22T09:48:09.855" v="828"/>
          <ac:spMkLst>
            <pc:docMk/>
            <pc:sldMk cId="954719197" sldId="626"/>
            <ac:spMk id="32" creationId="{4FF11002-B964-43F5-8C65-73B4728BED3E}"/>
          </ac:spMkLst>
        </pc:spChg>
        <pc:spChg chg="add mod">
          <ac:chgData name="Thotakura, Ashok" userId="8def16fa-05a4-42f6-9097-35114c55c601" providerId="ADAL" clId="{BD8B308B-3AB0-4850-B196-EA60816149B8}" dt="2021-09-22T09:48:20.535" v="831" actId="403"/>
          <ac:spMkLst>
            <pc:docMk/>
            <pc:sldMk cId="954719197" sldId="626"/>
            <ac:spMk id="33" creationId="{470EBE62-A7D3-465D-8B39-050A9773A877}"/>
          </ac:spMkLst>
        </pc:spChg>
        <pc:grpChg chg="del">
          <ac:chgData name="Thotakura, Ashok" userId="8def16fa-05a4-42f6-9097-35114c55c601" providerId="ADAL" clId="{BD8B308B-3AB0-4850-B196-EA60816149B8}" dt="2021-09-22T09:48:09.505" v="827" actId="478"/>
          <ac:grpSpMkLst>
            <pc:docMk/>
            <pc:sldMk cId="954719197" sldId="626"/>
            <ac:grpSpMk id="7" creationId="{4DDE1839-BD2C-A145-AAAE-F2831B92D57D}"/>
          </ac:grpSpMkLst>
        </pc:grpChg>
        <pc:grpChg chg="del">
          <ac:chgData name="Thotakura, Ashok" userId="8def16fa-05a4-42f6-9097-35114c55c601" providerId="ADAL" clId="{BD8B308B-3AB0-4850-B196-EA60816149B8}" dt="2021-09-22T09:48:09.505" v="827" actId="478"/>
          <ac:grpSpMkLst>
            <pc:docMk/>
            <pc:sldMk cId="954719197" sldId="626"/>
            <ac:grpSpMk id="8" creationId="{5B95B903-2357-EF4F-8F8A-1CFBFE94378A}"/>
          </ac:grpSpMkLst>
        </pc:grpChg>
        <pc:grpChg chg="add mod">
          <ac:chgData name="Thotakura, Ashok" userId="8def16fa-05a4-42f6-9097-35114c55c601" providerId="ADAL" clId="{BD8B308B-3AB0-4850-B196-EA60816149B8}" dt="2021-09-22T09:48:09.855" v="828"/>
          <ac:grpSpMkLst>
            <pc:docMk/>
            <pc:sldMk cId="954719197" sldId="626"/>
            <ac:grpSpMk id="20" creationId="{8E91FE6E-5AAD-4B58-B3A9-F9DE81BD99EA}"/>
          </ac:grpSpMkLst>
        </pc:grpChg>
        <pc:grpChg chg="add mod">
          <ac:chgData name="Thotakura, Ashok" userId="8def16fa-05a4-42f6-9097-35114c55c601" providerId="ADAL" clId="{BD8B308B-3AB0-4850-B196-EA60816149B8}" dt="2021-09-22T09:48:09.855" v="828"/>
          <ac:grpSpMkLst>
            <pc:docMk/>
            <pc:sldMk cId="954719197" sldId="626"/>
            <ac:grpSpMk id="24" creationId="{FA59D1A2-ACEC-4C56-8162-B9222AC8CC87}"/>
          </ac:grpSpMkLst>
        </pc:grpChg>
      </pc:sldChg>
      <pc:sldChg chg="addSp delSp modSp mod ord addCm">
        <pc:chgData name="Thotakura, Ashok" userId="8def16fa-05a4-42f6-9097-35114c55c601" providerId="ADAL" clId="{BD8B308B-3AB0-4850-B196-EA60816149B8}" dt="2021-10-04T11:38:26.027" v="872" actId="1589"/>
        <pc:sldMkLst>
          <pc:docMk/>
          <pc:sldMk cId="1996427620" sldId="634"/>
        </pc:sldMkLst>
        <pc:picChg chg="add">
          <ac:chgData name="Thotakura, Ashok" userId="8def16fa-05a4-42f6-9097-35114c55c601" providerId="ADAL" clId="{BD8B308B-3AB0-4850-B196-EA60816149B8}" dt="2021-10-04T11:38:19.220" v="871"/>
          <ac:picMkLst>
            <pc:docMk/>
            <pc:sldMk cId="1996427620" sldId="634"/>
            <ac:picMk id="2" creationId="{FFD23563-1B9B-4915-A2A3-C534DCAF8AFF}"/>
          </ac:picMkLst>
        </pc:picChg>
        <pc:picChg chg="add del mod">
          <ac:chgData name="Thotakura, Ashok" userId="8def16fa-05a4-42f6-9097-35114c55c601" providerId="ADAL" clId="{BD8B308B-3AB0-4850-B196-EA60816149B8}" dt="2021-09-22T10:06:11.479" v="835" actId="478"/>
          <ac:picMkLst>
            <pc:docMk/>
            <pc:sldMk cId="1996427620" sldId="634"/>
            <ac:picMk id="7" creationId="{C5394F61-C8F1-456F-9AB8-754C120ABA3C}"/>
          </ac:picMkLst>
        </pc:picChg>
        <pc:picChg chg="add del mod">
          <ac:chgData name="Thotakura, Ashok" userId="8def16fa-05a4-42f6-9097-35114c55c601" providerId="ADAL" clId="{BD8B308B-3AB0-4850-B196-EA60816149B8}" dt="2021-10-04T11:38:18.483" v="870" actId="478"/>
          <ac:picMkLst>
            <pc:docMk/>
            <pc:sldMk cId="1996427620" sldId="634"/>
            <ac:picMk id="8" creationId="{3D4EF261-1B05-4A6F-AE24-B72E3DDD5DC7}"/>
          </ac:picMkLst>
        </pc:picChg>
        <pc:picChg chg="del">
          <ac:chgData name="Thotakura, Ashok" userId="8def16fa-05a4-42f6-9097-35114c55c601" providerId="ADAL" clId="{BD8B308B-3AB0-4850-B196-EA60816149B8}" dt="2021-09-22T10:05:53.545" v="832" actId="478"/>
          <ac:picMkLst>
            <pc:docMk/>
            <pc:sldMk cId="1996427620" sldId="634"/>
            <ac:picMk id="10" creationId="{71A4620C-4F74-4DDE-856C-E859BED3B725}"/>
          </ac:picMkLst>
        </pc:picChg>
        <pc:inkChg chg="del">
          <ac:chgData name="Thotakura, Ashok" userId="8def16fa-05a4-42f6-9097-35114c55c601" providerId="ADAL" clId="{BD8B308B-3AB0-4850-B196-EA60816149B8}" dt="2021-09-22T10:05:55.759" v="833" actId="478"/>
          <ac:inkMkLst>
            <pc:docMk/>
            <pc:sldMk cId="1996427620" sldId="634"/>
            <ac:inkMk id="11" creationId="{BC290ADF-857B-46FB-85AF-781025362732}"/>
          </ac:inkMkLst>
        </pc:inkChg>
        <pc:inkChg chg="del">
          <ac:chgData name="Thotakura, Ashok" userId="8def16fa-05a4-42f6-9097-35114c55c601" providerId="ADAL" clId="{BD8B308B-3AB0-4850-B196-EA60816149B8}" dt="2021-09-22T10:05:55.759" v="833" actId="478"/>
          <ac:inkMkLst>
            <pc:docMk/>
            <pc:sldMk cId="1996427620" sldId="634"/>
            <ac:inkMk id="12" creationId="{A2576D47-C283-4061-AB76-9776FD2B4545}"/>
          </ac:inkMkLst>
        </pc:inkChg>
        <pc:inkChg chg="del">
          <ac:chgData name="Thotakura, Ashok" userId="8def16fa-05a4-42f6-9097-35114c55c601" providerId="ADAL" clId="{BD8B308B-3AB0-4850-B196-EA60816149B8}" dt="2021-09-22T10:05:55.759" v="833" actId="478"/>
          <ac:inkMkLst>
            <pc:docMk/>
            <pc:sldMk cId="1996427620" sldId="634"/>
            <ac:inkMk id="13" creationId="{A2AF39BB-98E3-4B69-BDE9-C94C4CF30BA6}"/>
          </ac:inkMkLst>
        </pc:inkChg>
      </pc:sldChg>
      <pc:sldChg chg="addSp delSp modSp mod ord">
        <pc:chgData name="Thotakura, Ashok" userId="8def16fa-05a4-42f6-9097-35114c55c601" providerId="ADAL" clId="{BD8B308B-3AB0-4850-B196-EA60816149B8}" dt="2021-09-22T10:07:10.428" v="839"/>
        <pc:sldMkLst>
          <pc:docMk/>
          <pc:sldMk cId="1231956484" sldId="639"/>
        </pc:sldMkLst>
        <pc:picChg chg="del">
          <ac:chgData name="Thotakura, Ashok" userId="8def16fa-05a4-42f6-9097-35114c55c601" providerId="ADAL" clId="{BD8B308B-3AB0-4850-B196-EA60816149B8}" dt="2021-09-22T10:06:49.413" v="837" actId="478"/>
          <ac:picMkLst>
            <pc:docMk/>
            <pc:sldMk cId="1231956484" sldId="639"/>
            <ac:picMk id="5" creationId="{0D0E3EAA-77AB-475B-A9D5-ED10B596ABC2}"/>
          </ac:picMkLst>
        </pc:picChg>
        <pc:picChg chg="add mod">
          <ac:chgData name="Thotakura, Ashok" userId="8def16fa-05a4-42f6-9097-35114c55c601" providerId="ADAL" clId="{BD8B308B-3AB0-4850-B196-EA60816149B8}" dt="2021-09-22T10:07:10.428" v="839"/>
          <ac:picMkLst>
            <pc:docMk/>
            <pc:sldMk cId="1231956484" sldId="639"/>
            <ac:picMk id="16" creationId="{F08F402F-9684-499A-BAE7-77C7933469B0}"/>
          </ac:picMkLst>
        </pc:pic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8" creationId="{2B86C6F8-FB8F-47A3-B27B-B61009DBD3EB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9" creationId="{4F7EA3E1-11AC-49E8-8C79-34D19F376DB5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10" creationId="{504CD81D-F6FE-452F-BE34-F3A4CBA03DE9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11" creationId="{1044F04B-BF1D-4303-9D3B-393E0918DE69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12" creationId="{DF035326-0889-45C3-B25D-1449B0201448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13" creationId="{3397C388-F9D7-4F28-950C-DE6E9059B693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14" creationId="{22F5285D-2B54-4294-81AE-538352C718C0}"/>
          </ac:inkMkLst>
        </pc:inkChg>
        <pc:inkChg chg="del">
          <ac:chgData name="Thotakura, Ashok" userId="8def16fa-05a4-42f6-9097-35114c55c601" providerId="ADAL" clId="{BD8B308B-3AB0-4850-B196-EA60816149B8}" dt="2021-09-22T10:06:51.997" v="838" actId="478"/>
          <ac:inkMkLst>
            <pc:docMk/>
            <pc:sldMk cId="1231956484" sldId="639"/>
            <ac:inkMk id="15" creationId="{84D7D373-FB9D-4C00-A70C-D3FCD6EEFD53}"/>
          </ac:inkMkLst>
        </pc:inkChg>
      </pc:sldChg>
      <pc:sldChg chg="modSp mod ord">
        <pc:chgData name="Thotakura, Ashok" userId="8def16fa-05a4-42f6-9097-35114c55c601" providerId="ADAL" clId="{BD8B308B-3AB0-4850-B196-EA60816149B8}" dt="2021-10-08T14:20:29.832" v="2082" actId="14100"/>
        <pc:sldMkLst>
          <pc:docMk/>
          <pc:sldMk cId="3783079273" sldId="650"/>
        </pc:sldMkLst>
        <pc:graphicFrameChg chg="mod modGraphic">
          <ac:chgData name="Thotakura, Ashok" userId="8def16fa-05a4-42f6-9097-35114c55c601" providerId="ADAL" clId="{BD8B308B-3AB0-4850-B196-EA60816149B8}" dt="2021-10-08T14:20:29.832" v="2082" actId="14100"/>
          <ac:graphicFrameMkLst>
            <pc:docMk/>
            <pc:sldMk cId="3783079273" sldId="650"/>
            <ac:graphicFrameMk id="5" creationId="{90CCA062-A7F0-4C93-A28E-71B91C36E2E6}"/>
          </ac:graphicFrameMkLst>
        </pc:graphicFrameChg>
      </pc:sldChg>
      <pc:sldChg chg="del">
        <pc:chgData name="Thotakura, Ashok" userId="8def16fa-05a4-42f6-9097-35114c55c601" providerId="ADAL" clId="{BD8B308B-3AB0-4850-B196-EA60816149B8}" dt="2021-09-20T11:24:49.620" v="804" actId="47"/>
        <pc:sldMkLst>
          <pc:docMk/>
          <pc:sldMk cId="1369925577" sldId="654"/>
        </pc:sldMkLst>
      </pc:sldChg>
      <pc:sldChg chg="del">
        <pc:chgData name="Thotakura, Ashok" userId="8def16fa-05a4-42f6-9097-35114c55c601" providerId="ADAL" clId="{BD8B308B-3AB0-4850-B196-EA60816149B8}" dt="2021-09-20T11:25:26.407" v="809" actId="47"/>
        <pc:sldMkLst>
          <pc:docMk/>
          <pc:sldMk cId="2776706470" sldId="658"/>
        </pc:sldMkLst>
      </pc:sldChg>
      <pc:sldChg chg="del">
        <pc:chgData name="Thotakura, Ashok" userId="8def16fa-05a4-42f6-9097-35114c55c601" providerId="ADAL" clId="{BD8B308B-3AB0-4850-B196-EA60816149B8}" dt="2021-09-20T11:24:45.824" v="802" actId="47"/>
        <pc:sldMkLst>
          <pc:docMk/>
          <pc:sldMk cId="1559625263" sldId="659"/>
        </pc:sldMkLst>
      </pc:sldChg>
      <pc:sldChg chg="del">
        <pc:chgData name="Thotakura, Ashok" userId="8def16fa-05a4-42f6-9097-35114c55c601" providerId="ADAL" clId="{BD8B308B-3AB0-4850-B196-EA60816149B8}" dt="2021-09-20T11:20:24.053" v="717" actId="47"/>
        <pc:sldMkLst>
          <pc:docMk/>
          <pc:sldMk cId="1836145309" sldId="674"/>
        </pc:sldMkLst>
      </pc:sldChg>
      <pc:sldChg chg="del">
        <pc:chgData name="Thotakura, Ashok" userId="8def16fa-05a4-42f6-9097-35114c55c601" providerId="ADAL" clId="{BD8B308B-3AB0-4850-B196-EA60816149B8}" dt="2021-09-20T11:24:44.328" v="801" actId="47"/>
        <pc:sldMkLst>
          <pc:docMk/>
          <pc:sldMk cId="3797066788" sldId="675"/>
        </pc:sldMkLst>
      </pc:sldChg>
      <pc:sldChg chg="del">
        <pc:chgData name="Thotakura, Ashok" userId="8def16fa-05a4-42f6-9097-35114c55c601" providerId="ADAL" clId="{BD8B308B-3AB0-4850-B196-EA60816149B8}" dt="2021-09-20T11:25:17.576" v="808" actId="47"/>
        <pc:sldMkLst>
          <pc:docMk/>
          <pc:sldMk cId="2153067775" sldId="771"/>
        </pc:sldMkLst>
      </pc:sldChg>
      <pc:sldChg chg="del">
        <pc:chgData name="Thotakura, Ashok" userId="8def16fa-05a4-42f6-9097-35114c55c601" providerId="ADAL" clId="{BD8B308B-3AB0-4850-B196-EA60816149B8}" dt="2021-09-20T10:46:35.591" v="2" actId="47"/>
        <pc:sldMkLst>
          <pc:docMk/>
          <pc:sldMk cId="2850370611" sldId="789"/>
        </pc:sldMkLst>
      </pc:sldChg>
      <pc:sldChg chg="del">
        <pc:chgData name="Thotakura, Ashok" userId="8def16fa-05a4-42f6-9097-35114c55c601" providerId="ADAL" clId="{BD8B308B-3AB0-4850-B196-EA60816149B8}" dt="2021-09-20T11:25:15.792" v="807" actId="47"/>
        <pc:sldMkLst>
          <pc:docMk/>
          <pc:sldMk cId="307580970" sldId="790"/>
        </pc:sldMkLst>
      </pc:sldChg>
      <pc:sldChg chg="del">
        <pc:chgData name="Thotakura, Ashok" userId="8def16fa-05a4-42f6-9097-35114c55c601" providerId="ADAL" clId="{BD8B308B-3AB0-4850-B196-EA60816149B8}" dt="2021-09-20T10:46:38.131" v="3" actId="47"/>
        <pc:sldMkLst>
          <pc:docMk/>
          <pc:sldMk cId="1756145846" sldId="791"/>
        </pc:sldMkLst>
      </pc:sldChg>
      <pc:sldChg chg="del">
        <pc:chgData name="Thotakura, Ashok" userId="8def16fa-05a4-42f6-9097-35114c55c601" providerId="ADAL" clId="{BD8B308B-3AB0-4850-B196-EA60816149B8}" dt="2021-09-20T11:25:10.903" v="805" actId="47"/>
        <pc:sldMkLst>
          <pc:docMk/>
          <pc:sldMk cId="2133277366" sldId="796"/>
        </pc:sldMkLst>
      </pc:sldChg>
      <pc:sldChg chg="del">
        <pc:chgData name="Thotakura, Ashok" userId="8def16fa-05a4-42f6-9097-35114c55c601" providerId="ADAL" clId="{BD8B308B-3AB0-4850-B196-EA60816149B8}" dt="2021-09-20T11:25:14.839" v="806" actId="47"/>
        <pc:sldMkLst>
          <pc:docMk/>
          <pc:sldMk cId="989575491" sldId="797"/>
        </pc:sldMkLst>
      </pc:sldChg>
      <pc:sldChg chg="del ord">
        <pc:chgData name="Thotakura, Ashok" userId="8def16fa-05a4-42f6-9097-35114c55c601" providerId="ADAL" clId="{BD8B308B-3AB0-4850-B196-EA60816149B8}" dt="2021-09-20T10:46:34.892" v="1" actId="47"/>
        <pc:sldMkLst>
          <pc:docMk/>
          <pc:sldMk cId="295079143" sldId="798"/>
        </pc:sldMkLst>
      </pc:sldChg>
      <pc:sldChg chg="modSp mod">
        <pc:chgData name="Thotakura, Ashok" userId="8def16fa-05a4-42f6-9097-35114c55c601" providerId="ADAL" clId="{BD8B308B-3AB0-4850-B196-EA60816149B8}" dt="2021-09-20T11:20:35.568" v="727" actId="20577"/>
        <pc:sldMkLst>
          <pc:docMk/>
          <pc:sldMk cId="4091445756" sldId="799"/>
        </pc:sldMkLst>
        <pc:spChg chg="mod">
          <ac:chgData name="Thotakura, Ashok" userId="8def16fa-05a4-42f6-9097-35114c55c601" providerId="ADAL" clId="{BD8B308B-3AB0-4850-B196-EA60816149B8}" dt="2021-09-20T11:20:35.568" v="727" actId="20577"/>
          <ac:spMkLst>
            <pc:docMk/>
            <pc:sldMk cId="4091445756" sldId="799"/>
            <ac:spMk id="2" creationId="{00000000-0000-0000-0000-000000000000}"/>
          </ac:spMkLst>
        </pc:spChg>
      </pc:sldChg>
      <pc:sldChg chg="modSp mod">
        <pc:chgData name="Thotakura, Ashok" userId="8def16fa-05a4-42f6-9097-35114c55c601" providerId="ADAL" clId="{BD8B308B-3AB0-4850-B196-EA60816149B8}" dt="2021-09-20T11:20:18.813" v="716" actId="20577"/>
        <pc:sldMkLst>
          <pc:docMk/>
          <pc:sldMk cId="919561804" sldId="800"/>
        </pc:sldMkLst>
        <pc:spChg chg="mod">
          <ac:chgData name="Thotakura, Ashok" userId="8def16fa-05a4-42f6-9097-35114c55c601" providerId="ADAL" clId="{BD8B308B-3AB0-4850-B196-EA60816149B8}" dt="2021-09-20T11:20:18.813" v="716" actId="20577"/>
          <ac:spMkLst>
            <pc:docMk/>
            <pc:sldMk cId="919561804" sldId="800"/>
            <ac:spMk id="2" creationId="{00000000-0000-0000-0000-000000000000}"/>
          </ac:spMkLst>
        </pc:spChg>
      </pc:sldChg>
      <pc:sldChg chg="modSp add mod">
        <pc:chgData name="Thotakura, Ashok" userId="8def16fa-05a4-42f6-9097-35114c55c601" providerId="ADAL" clId="{BD8B308B-3AB0-4850-B196-EA60816149B8}" dt="2021-09-20T11:21:21.129" v="751" actId="20577"/>
        <pc:sldMkLst>
          <pc:docMk/>
          <pc:sldMk cId="2808331590" sldId="801"/>
        </pc:sldMkLst>
        <pc:spChg chg="mod">
          <ac:chgData name="Thotakura, Ashok" userId="8def16fa-05a4-42f6-9097-35114c55c601" providerId="ADAL" clId="{BD8B308B-3AB0-4850-B196-EA60816149B8}" dt="2021-09-20T11:21:21.129" v="751" actId="20577"/>
          <ac:spMkLst>
            <pc:docMk/>
            <pc:sldMk cId="2808331590" sldId="801"/>
            <ac:spMk id="2" creationId="{00000000-0000-0000-0000-000000000000}"/>
          </ac:spMkLst>
        </pc:spChg>
      </pc:sldChg>
      <pc:sldChg chg="modSp add mod">
        <pc:chgData name="Thotakura, Ashok" userId="8def16fa-05a4-42f6-9097-35114c55c601" providerId="ADAL" clId="{BD8B308B-3AB0-4850-B196-EA60816149B8}" dt="2021-09-20T11:20:42.212" v="733" actId="20577"/>
        <pc:sldMkLst>
          <pc:docMk/>
          <pc:sldMk cId="1009707844" sldId="802"/>
        </pc:sldMkLst>
        <pc:spChg chg="mod">
          <ac:chgData name="Thotakura, Ashok" userId="8def16fa-05a4-42f6-9097-35114c55c601" providerId="ADAL" clId="{BD8B308B-3AB0-4850-B196-EA60816149B8}" dt="2021-09-20T11:20:42.212" v="733" actId="20577"/>
          <ac:spMkLst>
            <pc:docMk/>
            <pc:sldMk cId="1009707844" sldId="802"/>
            <ac:spMk id="2" creationId="{00000000-0000-0000-0000-000000000000}"/>
          </ac:spMkLst>
        </pc:spChg>
      </pc:sldChg>
      <pc:sldChg chg="addSp delSp modSp add mod">
        <pc:chgData name="Thotakura, Ashok" userId="8def16fa-05a4-42f6-9097-35114c55c601" providerId="ADAL" clId="{BD8B308B-3AB0-4850-B196-EA60816149B8}" dt="2021-10-04T13:29:10.741" v="1152"/>
        <pc:sldMkLst>
          <pc:docMk/>
          <pc:sldMk cId="1577157785" sldId="803"/>
        </pc:sldMkLst>
        <pc:spChg chg="mod">
          <ac:chgData name="Thotakura, Ashok" userId="8def16fa-05a4-42f6-9097-35114c55c601" providerId="ADAL" clId="{BD8B308B-3AB0-4850-B196-EA60816149B8}" dt="2021-09-20T10:49:34.135" v="82" actId="20577"/>
          <ac:spMkLst>
            <pc:docMk/>
            <pc:sldMk cId="1577157785" sldId="803"/>
            <ac:spMk id="2" creationId="{00000000-0000-0000-0000-000000000000}"/>
          </ac:spMkLst>
        </pc:spChg>
        <pc:picChg chg="add del">
          <ac:chgData name="Thotakura, Ashok" userId="8def16fa-05a4-42f6-9097-35114c55c601" providerId="ADAL" clId="{BD8B308B-3AB0-4850-B196-EA60816149B8}" dt="2021-10-04T13:29:10.340" v="1151" actId="478"/>
          <ac:picMkLst>
            <pc:docMk/>
            <pc:sldMk cId="1577157785" sldId="803"/>
            <ac:picMk id="3" creationId="{FBA78F04-404D-4857-800D-A9DC1EC653F4}"/>
          </ac:picMkLst>
        </pc:picChg>
        <pc:picChg chg="add">
          <ac:chgData name="Thotakura, Ashok" userId="8def16fa-05a4-42f6-9097-35114c55c601" providerId="ADAL" clId="{BD8B308B-3AB0-4850-B196-EA60816149B8}" dt="2021-10-04T13:29:10.741" v="1152"/>
          <ac:picMkLst>
            <pc:docMk/>
            <pc:sldMk cId="1577157785" sldId="803"/>
            <ac:picMk id="4" creationId="{0CDD7B91-4622-4BE2-847C-F3CE54992A85}"/>
          </ac:picMkLst>
        </pc:picChg>
        <pc:picChg chg="del">
          <ac:chgData name="Thotakura, Ashok" userId="8def16fa-05a4-42f6-9097-35114c55c601" providerId="ADAL" clId="{BD8B308B-3AB0-4850-B196-EA60816149B8}" dt="2021-09-22T11:54:22.388" v="840" actId="478"/>
          <ac:picMkLst>
            <pc:docMk/>
            <pc:sldMk cId="1577157785" sldId="803"/>
            <ac:picMk id="4" creationId="{95832135-93D2-4E13-9C4F-A00B61114956}"/>
          </ac:picMkLst>
        </pc:picChg>
      </pc:sldChg>
      <pc:sldChg chg="addSp delSp modSp add mod ord">
        <pc:chgData name="Thotakura, Ashok" userId="8def16fa-05a4-42f6-9097-35114c55c601" providerId="ADAL" clId="{BD8B308B-3AB0-4850-B196-EA60816149B8}" dt="2021-10-04T13:29:01.981" v="1150"/>
        <pc:sldMkLst>
          <pc:docMk/>
          <pc:sldMk cId="854493032" sldId="804"/>
        </pc:sldMkLst>
        <pc:spChg chg="mod">
          <ac:chgData name="Thotakura, Ashok" userId="8def16fa-05a4-42f6-9097-35114c55c601" providerId="ADAL" clId="{BD8B308B-3AB0-4850-B196-EA60816149B8}" dt="2021-09-20T10:49:27.636" v="74" actId="20577"/>
          <ac:spMkLst>
            <pc:docMk/>
            <pc:sldMk cId="854493032" sldId="804"/>
            <ac:spMk id="2" creationId="{00000000-0000-0000-0000-000000000000}"/>
          </ac:spMkLst>
        </pc:spChg>
        <pc:picChg chg="add">
          <ac:chgData name="Thotakura, Ashok" userId="8def16fa-05a4-42f6-9097-35114c55c601" providerId="ADAL" clId="{BD8B308B-3AB0-4850-B196-EA60816149B8}" dt="2021-09-22T11:54:45.606" v="843"/>
          <ac:picMkLst>
            <pc:docMk/>
            <pc:sldMk cId="854493032" sldId="804"/>
            <ac:picMk id="3" creationId="{D4477AE5-BDAA-4185-BC64-6E55B0B32359}"/>
          </ac:picMkLst>
        </pc:picChg>
        <pc:picChg chg="del">
          <ac:chgData name="Thotakura, Ashok" userId="8def16fa-05a4-42f6-9097-35114c55c601" providerId="ADAL" clId="{BD8B308B-3AB0-4850-B196-EA60816149B8}" dt="2021-09-22T11:54:44.367" v="842" actId="478"/>
          <ac:picMkLst>
            <pc:docMk/>
            <pc:sldMk cId="854493032" sldId="804"/>
            <ac:picMk id="4" creationId="{95832135-93D2-4E13-9C4F-A00B61114956}"/>
          </ac:picMkLst>
        </pc:picChg>
      </pc:sldChg>
      <pc:sldChg chg="addSp delSp modSp add mod">
        <pc:chgData name="Thotakura, Ashok" userId="8def16fa-05a4-42f6-9097-35114c55c601" providerId="ADAL" clId="{BD8B308B-3AB0-4850-B196-EA60816149B8}" dt="2021-10-04T11:21:16.470" v="864"/>
        <pc:sldMkLst>
          <pc:docMk/>
          <pc:sldMk cId="1772705188" sldId="805"/>
        </pc:sldMkLst>
        <pc:spChg chg="mod">
          <ac:chgData name="Thotakura, Ashok" userId="8def16fa-05a4-42f6-9097-35114c55c601" providerId="ADAL" clId="{BD8B308B-3AB0-4850-B196-EA60816149B8}" dt="2021-09-20T11:21:01.741" v="738" actId="20577"/>
          <ac:spMkLst>
            <pc:docMk/>
            <pc:sldMk cId="1772705188" sldId="805"/>
            <ac:spMk id="2" creationId="{00000000-0000-0000-0000-000000000000}"/>
          </ac:spMkLst>
        </pc:spChg>
        <pc:spChg chg="add del">
          <ac:chgData name="Thotakura, Ashok" userId="8def16fa-05a4-42f6-9097-35114c55c601" providerId="ADAL" clId="{BD8B308B-3AB0-4850-B196-EA60816149B8}" dt="2021-10-04T11:20:37.816" v="855" actId="478"/>
          <ac:spMkLst>
            <pc:docMk/>
            <pc:sldMk cId="1772705188" sldId="805"/>
            <ac:spMk id="3" creationId="{30DEFAFF-4274-42C5-8D2D-2445117C5B24}"/>
          </ac:spMkLst>
        </pc:spChg>
        <pc:spChg chg="add del">
          <ac:chgData name="Thotakura, Ashok" userId="8def16fa-05a4-42f6-9097-35114c55c601" providerId="ADAL" clId="{BD8B308B-3AB0-4850-B196-EA60816149B8}" dt="2021-10-04T11:20:40.410" v="857"/>
          <ac:spMkLst>
            <pc:docMk/>
            <pc:sldMk cId="1772705188" sldId="805"/>
            <ac:spMk id="5" creationId="{0D5BFB6C-A9F6-480F-AA55-7FAB9E547B3A}"/>
          </ac:spMkLst>
        </pc:spChg>
        <pc:spChg chg="add del mod">
          <ac:chgData name="Thotakura, Ashok" userId="8def16fa-05a4-42f6-9097-35114c55c601" providerId="ADAL" clId="{BD8B308B-3AB0-4850-B196-EA60816149B8}" dt="2021-10-04T11:20:53.820" v="861" actId="478"/>
          <ac:spMkLst>
            <pc:docMk/>
            <pc:sldMk cId="1772705188" sldId="805"/>
            <ac:spMk id="6" creationId="{28718A75-8F5C-4F5D-9C55-1B3806DD02A5}"/>
          </ac:spMkLst>
        </pc:spChg>
        <pc:spChg chg="add del mod">
          <ac:chgData name="Thotakura, Ashok" userId="8def16fa-05a4-42f6-9097-35114c55c601" providerId="ADAL" clId="{BD8B308B-3AB0-4850-B196-EA60816149B8}" dt="2021-10-04T11:21:02.116" v="863"/>
          <ac:spMkLst>
            <pc:docMk/>
            <pc:sldMk cId="1772705188" sldId="805"/>
            <ac:spMk id="7" creationId="{BA7E3C11-702D-4F16-A973-842C19B87CBE}"/>
          </ac:spMkLst>
        </pc:spChg>
        <pc:picChg chg="del">
          <ac:chgData name="Thotakura, Ashok" userId="8def16fa-05a4-42f6-9097-35114c55c601" providerId="ADAL" clId="{BD8B308B-3AB0-4850-B196-EA60816149B8}" dt="2021-10-04T11:20:26.495" v="853" actId="478"/>
          <ac:picMkLst>
            <pc:docMk/>
            <pc:sldMk cId="1772705188" sldId="805"/>
            <ac:picMk id="4" creationId="{95832135-93D2-4E13-9C4F-A00B61114956}"/>
          </ac:picMkLst>
        </pc:picChg>
        <pc:picChg chg="add mod">
          <ac:chgData name="Thotakura, Ashok" userId="8def16fa-05a4-42f6-9097-35114c55c601" providerId="ADAL" clId="{BD8B308B-3AB0-4850-B196-EA60816149B8}" dt="2021-10-04T11:21:16.470" v="864"/>
          <ac:picMkLst>
            <pc:docMk/>
            <pc:sldMk cId="1772705188" sldId="805"/>
            <ac:picMk id="9" creationId="{B5BD5357-BDC1-4E53-80FE-20AB6DB9E1AC}"/>
          </ac:picMkLst>
        </pc:picChg>
      </pc:sldChg>
      <pc:sldChg chg="modSp add mod ord">
        <pc:chgData name="Thotakura, Ashok" userId="8def16fa-05a4-42f6-9097-35114c55c601" providerId="ADAL" clId="{BD8B308B-3AB0-4850-B196-EA60816149B8}" dt="2021-10-04T12:28:59.214" v="876"/>
        <pc:sldMkLst>
          <pc:docMk/>
          <pc:sldMk cId="1235282081" sldId="806"/>
        </pc:sldMkLst>
        <pc:spChg chg="mod">
          <ac:chgData name="Thotakura, Ashok" userId="8def16fa-05a4-42f6-9097-35114c55c601" providerId="ADAL" clId="{BD8B308B-3AB0-4850-B196-EA60816149B8}" dt="2021-09-20T11:21:11.019" v="746" actId="20577"/>
          <ac:spMkLst>
            <pc:docMk/>
            <pc:sldMk cId="1235282081" sldId="806"/>
            <ac:spMk id="2" creationId="{00000000-0000-0000-0000-000000000000}"/>
          </ac:spMkLst>
        </pc:spChg>
      </pc:sldChg>
      <pc:sldChg chg="modSp add mod">
        <pc:chgData name="Thotakura, Ashok" userId="8def16fa-05a4-42f6-9097-35114c55c601" providerId="ADAL" clId="{BD8B308B-3AB0-4850-B196-EA60816149B8}" dt="2021-09-20T11:21:28.865" v="759" actId="20577"/>
        <pc:sldMkLst>
          <pc:docMk/>
          <pc:sldMk cId="2135273720" sldId="807"/>
        </pc:sldMkLst>
        <pc:spChg chg="mod">
          <ac:chgData name="Thotakura, Ashok" userId="8def16fa-05a4-42f6-9097-35114c55c601" providerId="ADAL" clId="{BD8B308B-3AB0-4850-B196-EA60816149B8}" dt="2021-09-20T11:21:28.865" v="759" actId="20577"/>
          <ac:spMkLst>
            <pc:docMk/>
            <pc:sldMk cId="2135273720" sldId="807"/>
            <ac:spMk id="2" creationId="{00000000-0000-0000-0000-000000000000}"/>
          </ac:spMkLst>
        </pc:spChg>
      </pc:sldChg>
      <pc:sldChg chg="addSp delSp modSp add del mod">
        <pc:chgData name="Thotakura, Ashok" userId="8def16fa-05a4-42f6-9097-35114c55c601" providerId="ADAL" clId="{BD8B308B-3AB0-4850-B196-EA60816149B8}" dt="2021-10-04T13:28:39.229" v="1148" actId="47"/>
        <pc:sldMkLst>
          <pc:docMk/>
          <pc:sldMk cId="4219099712" sldId="808"/>
        </pc:sldMkLst>
        <pc:spChg chg="mod">
          <ac:chgData name="Thotakura, Ashok" userId="8def16fa-05a4-42f6-9097-35114c55c601" providerId="ADAL" clId="{BD8B308B-3AB0-4850-B196-EA60816149B8}" dt="2021-09-20T10:53:21.971" v="205" actId="20577"/>
          <ac:spMkLst>
            <pc:docMk/>
            <pc:sldMk cId="4219099712" sldId="808"/>
            <ac:spMk id="2" creationId="{00000000-0000-0000-0000-000000000000}"/>
          </ac:spMkLst>
        </pc:spChg>
        <pc:graphicFrameChg chg="add mod modGraphic">
          <ac:chgData name="Thotakura, Ashok" userId="8def16fa-05a4-42f6-9097-35114c55c601" providerId="ADAL" clId="{BD8B308B-3AB0-4850-B196-EA60816149B8}" dt="2021-10-04T12:29:24.569" v="879" actId="14100"/>
          <ac:graphicFrameMkLst>
            <pc:docMk/>
            <pc:sldMk cId="4219099712" sldId="808"/>
            <ac:graphicFrameMk id="3" creationId="{09500039-4CC9-4287-8273-5F9B923D4E20}"/>
          </ac:graphicFrameMkLst>
        </pc:graphicFrameChg>
        <pc:picChg chg="del">
          <ac:chgData name="Thotakura, Ashok" userId="8def16fa-05a4-42f6-9097-35114c55c601" providerId="ADAL" clId="{BD8B308B-3AB0-4850-B196-EA60816149B8}" dt="2021-10-04T11:33:03.784" v="865" actId="478"/>
          <ac:picMkLst>
            <pc:docMk/>
            <pc:sldMk cId="4219099712" sldId="808"/>
            <ac:picMk id="4" creationId="{95832135-93D2-4E13-9C4F-A00B61114956}"/>
          </ac:picMkLst>
        </pc:picChg>
      </pc:sldChg>
      <pc:sldChg chg="addSp delSp modSp add mod">
        <pc:chgData name="Thotakura, Ashok" userId="8def16fa-05a4-42f6-9097-35114c55c601" providerId="ADAL" clId="{BD8B308B-3AB0-4850-B196-EA60816149B8}" dt="2021-09-20T13:06:20.221" v="826" actId="20577"/>
        <pc:sldMkLst>
          <pc:docMk/>
          <pc:sldMk cId="1639188097" sldId="809"/>
        </pc:sldMkLst>
        <pc:spChg chg="mod">
          <ac:chgData name="Thotakura, Ashok" userId="8def16fa-05a4-42f6-9097-35114c55c601" providerId="ADAL" clId="{BD8B308B-3AB0-4850-B196-EA60816149B8}" dt="2021-09-20T11:03:12.181" v="631" actId="14100"/>
          <ac:spMkLst>
            <pc:docMk/>
            <pc:sldMk cId="1639188097" sldId="809"/>
            <ac:spMk id="2" creationId="{00000000-0000-0000-0000-000000000000}"/>
          </ac:spMkLst>
        </pc:spChg>
        <pc:spChg chg="add mod">
          <ac:chgData name="Thotakura, Ashok" userId="8def16fa-05a4-42f6-9097-35114c55c601" providerId="ADAL" clId="{BD8B308B-3AB0-4850-B196-EA60816149B8}" dt="2021-09-20T13:06:20.221" v="826" actId="20577"/>
          <ac:spMkLst>
            <pc:docMk/>
            <pc:sldMk cId="1639188097" sldId="809"/>
            <ac:spMk id="5" creationId="{85C72395-FAC3-4972-A793-BCD425529DE9}"/>
          </ac:spMkLst>
        </pc:spChg>
        <pc:picChg chg="del">
          <ac:chgData name="Thotakura, Ashok" userId="8def16fa-05a4-42f6-9097-35114c55c601" providerId="ADAL" clId="{BD8B308B-3AB0-4850-B196-EA60816149B8}" dt="2021-09-20T10:54:26.538" v="214" actId="478"/>
          <ac:picMkLst>
            <pc:docMk/>
            <pc:sldMk cId="1639188097" sldId="809"/>
            <ac:picMk id="4" creationId="{95832135-93D2-4E13-9C4F-A00B61114956}"/>
          </ac:picMkLst>
        </pc:picChg>
      </pc:sldChg>
      <pc:sldChg chg="modSp add mod setBg">
        <pc:chgData name="Thotakura, Ashok" userId="8def16fa-05a4-42f6-9097-35114c55c601" providerId="ADAL" clId="{BD8B308B-3AB0-4850-B196-EA60816149B8}" dt="2021-09-27T08:33:03.223" v="849" actId="20577"/>
        <pc:sldMkLst>
          <pc:docMk/>
          <pc:sldMk cId="2333701982" sldId="811"/>
        </pc:sldMkLst>
        <pc:spChg chg="mod">
          <ac:chgData name="Thotakura, Ashok" userId="8def16fa-05a4-42f6-9097-35114c55c601" providerId="ADAL" clId="{BD8B308B-3AB0-4850-B196-EA60816149B8}" dt="2021-09-27T08:33:03.223" v="849" actId="20577"/>
          <ac:spMkLst>
            <pc:docMk/>
            <pc:sldMk cId="2333701982" sldId="811"/>
            <ac:spMk id="5" creationId="{00000000-0000-0000-0000-000000000000}"/>
          </ac:spMkLst>
        </pc:spChg>
      </pc:sldChg>
      <pc:sldChg chg="addSp delSp modSp add mod">
        <pc:chgData name="Thotakura, Ashok" userId="8def16fa-05a4-42f6-9097-35114c55c601" providerId="ADAL" clId="{BD8B308B-3AB0-4850-B196-EA60816149B8}" dt="2021-10-04T13:28:33.160" v="1147" actId="20577"/>
        <pc:sldMkLst>
          <pc:docMk/>
          <pc:sldMk cId="2592576761" sldId="812"/>
        </pc:sldMkLst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9" creationId="{89403DCD-8BDC-46CF-9B0F-D1E7488BF9A3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10" creationId="{4FD0D904-096E-417F-B1DA-DE305CBD1F15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12" creationId="{6889778F-94A7-4EC5-B9A4-18D3A67B5632}"/>
          </ac:spMkLst>
        </pc:spChg>
        <pc:spChg chg="mod">
          <ac:chgData name="Thotakura, Ashok" userId="8def16fa-05a4-42f6-9097-35114c55c601" providerId="ADAL" clId="{BD8B308B-3AB0-4850-B196-EA60816149B8}" dt="2021-10-04T13:28:14.564" v="1116" actId="20577"/>
          <ac:spMkLst>
            <pc:docMk/>
            <pc:sldMk cId="2592576761" sldId="812"/>
            <ac:spMk id="14" creationId="{EA705369-714A-48AD-B4C2-35D8C35CA4A1}"/>
          </ac:spMkLst>
        </pc:spChg>
        <pc:spChg chg="mod">
          <ac:chgData name="Thotakura, Ashok" userId="8def16fa-05a4-42f6-9097-35114c55c601" providerId="ADAL" clId="{BD8B308B-3AB0-4850-B196-EA60816149B8}" dt="2021-10-04T13:28:33.160" v="1147" actId="20577"/>
          <ac:spMkLst>
            <pc:docMk/>
            <pc:sldMk cId="2592576761" sldId="812"/>
            <ac:spMk id="15" creationId="{07F4E581-932C-4B15-9D78-3B695B0FDBED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16" creationId="{5BC17EC0-FB04-4DE7-AB12-52F9E79FF2D5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17" creationId="{D21725FF-D357-4EC8-8753-5E287E49F231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19" creationId="{5303274B-1BBF-45E1-ADF5-1879FF0F1657}"/>
          </ac:spMkLst>
        </pc:spChg>
        <pc:spChg chg="mod">
          <ac:chgData name="Thotakura, Ashok" userId="8def16fa-05a4-42f6-9097-35114c55c601" providerId="ADAL" clId="{BD8B308B-3AB0-4850-B196-EA60816149B8}" dt="2021-10-04T13:26:42.223" v="1020" actId="1037"/>
          <ac:spMkLst>
            <pc:docMk/>
            <pc:sldMk cId="2592576761" sldId="812"/>
            <ac:spMk id="20" creationId="{0656C9A0-5455-41F6-A50C-A4110A70B51B}"/>
          </ac:spMkLst>
        </pc:spChg>
        <pc:spChg chg="mod">
          <ac:chgData name="Thotakura, Ashok" userId="8def16fa-05a4-42f6-9097-35114c55c601" providerId="ADAL" clId="{BD8B308B-3AB0-4850-B196-EA60816149B8}" dt="2021-10-04T13:27:00.871" v="1056" actId="20577"/>
          <ac:spMkLst>
            <pc:docMk/>
            <pc:sldMk cId="2592576761" sldId="812"/>
            <ac:spMk id="21" creationId="{6BE03207-D056-436B-AA04-BA432AA9B595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22" creationId="{B4D6797F-6369-41BB-B669-06C065FC3A44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24" creationId="{560E0A6B-F548-473D-9210-1C490570BFEF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25" creationId="{47614B53-319F-46CF-9A89-70C6EAD4DB0A}"/>
          </ac:spMkLst>
        </pc:spChg>
        <pc:spChg chg="mod">
          <ac:chgData name="Thotakura, Ashok" userId="8def16fa-05a4-42f6-9097-35114c55c601" providerId="ADAL" clId="{BD8B308B-3AB0-4850-B196-EA60816149B8}" dt="2021-10-04T13:27:07.038" v="1070" actId="20577"/>
          <ac:spMkLst>
            <pc:docMk/>
            <pc:sldMk cId="2592576761" sldId="812"/>
            <ac:spMk id="26" creationId="{60432468-AF6B-49A0-92C6-681E368D074C}"/>
          </ac:spMkLst>
        </pc:spChg>
        <pc:spChg chg="mod">
          <ac:chgData name="Thotakura, Ashok" userId="8def16fa-05a4-42f6-9097-35114c55c601" providerId="ADAL" clId="{BD8B308B-3AB0-4850-B196-EA60816149B8}" dt="2021-10-04T13:27:32.337" v="1113" actId="33524"/>
          <ac:spMkLst>
            <pc:docMk/>
            <pc:sldMk cId="2592576761" sldId="812"/>
            <ac:spMk id="27" creationId="{436B95F1-7562-4B72-A55C-4E70E8CE5E39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28" creationId="{066685D8-5FE7-460B-A70F-44258878C638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30" creationId="{C6A59CF4-762C-44B5-88BC-F45CFBFC40EC}"/>
          </ac:spMkLst>
        </pc:spChg>
        <pc:spChg chg="mod">
          <ac:chgData name="Thotakura, Ashok" userId="8def16fa-05a4-42f6-9097-35114c55c601" providerId="ADAL" clId="{BD8B308B-3AB0-4850-B196-EA60816149B8}" dt="2021-10-04T13:25:18.450" v="882"/>
          <ac:spMkLst>
            <pc:docMk/>
            <pc:sldMk cId="2592576761" sldId="812"/>
            <ac:spMk id="31" creationId="{C3417E2E-4EC0-4400-81A7-C8347FA98400}"/>
          </ac:spMkLst>
        </pc:spChg>
        <pc:spChg chg="mod">
          <ac:chgData name="Thotakura, Ashok" userId="8def16fa-05a4-42f6-9097-35114c55c601" providerId="ADAL" clId="{BD8B308B-3AB0-4850-B196-EA60816149B8}" dt="2021-10-04T13:25:34.698" v="914" actId="20577"/>
          <ac:spMkLst>
            <pc:docMk/>
            <pc:sldMk cId="2592576761" sldId="812"/>
            <ac:spMk id="32" creationId="{05D3021B-7726-4FBE-BD61-E35008BBE1A9}"/>
          </ac:spMkLst>
        </pc:spChg>
        <pc:spChg chg="mod">
          <ac:chgData name="Thotakura, Ashok" userId="8def16fa-05a4-42f6-9097-35114c55c601" providerId="ADAL" clId="{BD8B308B-3AB0-4850-B196-EA60816149B8}" dt="2021-10-04T13:26:16.217" v="981" actId="20577"/>
          <ac:spMkLst>
            <pc:docMk/>
            <pc:sldMk cId="2592576761" sldId="812"/>
            <ac:spMk id="33" creationId="{833029D8-3F88-4F1A-A23D-DC6C094ECEFB}"/>
          </ac:spMkLst>
        </pc:spChg>
        <pc:grpChg chg="add 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4" creationId="{993CD107-5B7B-428E-B4BA-8C231115DA1C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5" creationId="{F0282E98-6C0D-48A9-B2E9-7CD43A6B8913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6" creationId="{065396A3-5895-46E6-B42E-EE89B963BDF8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7" creationId="{839E5E6D-2C2D-41B4-AB58-04D51B70B8DE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8" creationId="{B849607F-A741-4311-A10E-A3B7C0AFACFA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11" creationId="{3BBE2543-36B0-4D48-BBEA-DFCD5975F0BD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13" creationId="{2AFE3B2D-253E-42FD-8900-5FA87A53DB5F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18" creationId="{ABD09831-EC8D-4C9E-BEA3-BDD17FCB9B6B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23" creationId="{CB78863D-C8D9-459E-AC75-FB9882FB13B1}"/>
          </ac:grpSpMkLst>
        </pc:grpChg>
        <pc:grpChg chg="mod">
          <ac:chgData name="Thotakura, Ashok" userId="8def16fa-05a4-42f6-9097-35114c55c601" providerId="ADAL" clId="{BD8B308B-3AB0-4850-B196-EA60816149B8}" dt="2021-10-04T13:25:18.450" v="882"/>
          <ac:grpSpMkLst>
            <pc:docMk/>
            <pc:sldMk cId="2592576761" sldId="812"/>
            <ac:grpSpMk id="29" creationId="{1FB5F725-EB25-44C5-AFDE-794F0491F596}"/>
          </ac:grpSpMkLst>
        </pc:grpChg>
        <pc:graphicFrameChg chg="del">
          <ac:chgData name="Thotakura, Ashok" userId="8def16fa-05a4-42f6-9097-35114c55c601" providerId="ADAL" clId="{BD8B308B-3AB0-4850-B196-EA60816149B8}" dt="2021-10-04T13:25:12.594" v="881" actId="478"/>
          <ac:graphicFrameMkLst>
            <pc:docMk/>
            <pc:sldMk cId="2592576761" sldId="812"/>
            <ac:graphicFrameMk id="3" creationId="{09500039-4CC9-4287-8273-5F9B923D4E20}"/>
          </ac:graphicFrameMkLst>
        </pc:graphicFrameChg>
      </pc:sldChg>
      <pc:sldChg chg="del">
        <pc:chgData name="Thotakura, Ashok" userId="8def16fa-05a4-42f6-9097-35114c55c601" providerId="ADAL" clId="{BD8B308B-3AB0-4850-B196-EA60816149B8}" dt="2021-10-08T14:16:48.774" v="2013" actId="47"/>
        <pc:sldMkLst>
          <pc:docMk/>
          <pc:sldMk cId="2171301364" sldId="815"/>
        </pc:sldMkLst>
      </pc:sldChg>
      <pc:sldChg chg="add del">
        <pc:chgData name="Thotakura, Ashok" userId="8def16fa-05a4-42f6-9097-35114c55c601" providerId="ADAL" clId="{BD8B308B-3AB0-4850-B196-EA60816149B8}" dt="2021-10-08T14:16:48.078" v="2012" actId="47"/>
        <pc:sldMkLst>
          <pc:docMk/>
          <pc:sldMk cId="2732036171" sldId="816"/>
        </pc:sldMkLst>
      </pc:sldChg>
      <pc:sldChg chg="modSp add mod">
        <pc:chgData name="Thotakura, Ashok" userId="8def16fa-05a4-42f6-9097-35114c55c601" providerId="ADAL" clId="{BD8B308B-3AB0-4850-B196-EA60816149B8}" dt="2021-10-08T14:20:07.815" v="2080" actId="207"/>
        <pc:sldMkLst>
          <pc:docMk/>
          <pc:sldMk cId="2651572934" sldId="817"/>
        </pc:sldMkLst>
        <pc:graphicFrameChg chg="mod modGraphic">
          <ac:chgData name="Thotakura, Ashok" userId="8def16fa-05a4-42f6-9097-35114c55c601" providerId="ADAL" clId="{BD8B308B-3AB0-4850-B196-EA60816149B8}" dt="2021-10-08T14:20:07.815" v="2080" actId="207"/>
          <ac:graphicFrameMkLst>
            <pc:docMk/>
            <pc:sldMk cId="2651572934" sldId="817"/>
            <ac:graphicFrameMk id="5" creationId="{90CCA062-A7F0-4C93-A28E-71B91C36E2E6}"/>
          </ac:graphicFrameMkLst>
        </pc:graphicFrameChg>
      </pc:sldChg>
      <pc:sldChg chg="modSp add mod">
        <pc:chgData name="Thotakura, Ashok" userId="8def16fa-05a4-42f6-9097-35114c55c601" providerId="ADAL" clId="{BD8B308B-3AB0-4850-B196-EA60816149B8}" dt="2021-10-08T14:17:19.146" v="2037" actId="20577"/>
        <pc:sldMkLst>
          <pc:docMk/>
          <pc:sldMk cId="4197785199" sldId="818"/>
        </pc:sldMkLst>
        <pc:graphicFrameChg chg="mod modGraphic">
          <ac:chgData name="Thotakura, Ashok" userId="8def16fa-05a4-42f6-9097-35114c55c601" providerId="ADAL" clId="{BD8B308B-3AB0-4850-B196-EA60816149B8}" dt="2021-10-08T14:17:19.146" v="2037" actId="20577"/>
          <ac:graphicFrameMkLst>
            <pc:docMk/>
            <pc:sldMk cId="4197785199" sldId="818"/>
            <ac:graphicFrameMk id="5" creationId="{90CCA062-A7F0-4C93-A28E-71B91C36E2E6}"/>
          </ac:graphicFrameMkLst>
        </pc:graphicFrameChg>
      </pc:sldChg>
      <pc:sldMasterChg chg="delSldLayout">
        <pc:chgData name="Thotakura, Ashok" userId="8def16fa-05a4-42f6-9097-35114c55c601" providerId="ADAL" clId="{BD8B308B-3AB0-4850-B196-EA60816149B8}" dt="2021-09-20T11:25:10.903" v="805" actId="47"/>
        <pc:sldMasterMkLst>
          <pc:docMk/>
          <pc:sldMasterMk cId="0" sldId="2147483648"/>
        </pc:sldMasterMkLst>
        <pc:sldLayoutChg chg="del">
          <pc:chgData name="Thotakura, Ashok" userId="8def16fa-05a4-42f6-9097-35114c55c601" providerId="ADAL" clId="{BD8B308B-3AB0-4850-B196-EA60816149B8}" dt="2021-09-20T11:25:10.903" v="805" actId="47"/>
          <pc:sldLayoutMkLst>
            <pc:docMk/>
            <pc:sldMasterMk cId="0" sldId="2147483648"/>
            <pc:sldLayoutMk cId="1411770282" sldId="2147483834"/>
          </pc:sldLayoutMkLst>
        </pc:sldLayoutChg>
      </pc:sldMasterChg>
    </pc:docChg>
  </pc:docChgLst>
  <pc:docChgLst>
    <pc:chgData name="Valakatla, Venu Kumar" userId="1520d755-dd4a-4372-9089-607e5adf5d10" providerId="ADAL" clId="{1365425F-294F-47D2-972C-3B1ADEDC67E0}"/>
    <pc:docChg chg="addSld sldOrd">
      <pc:chgData name="Valakatla, Venu Kumar" userId="1520d755-dd4a-4372-9089-607e5adf5d10" providerId="ADAL" clId="{1365425F-294F-47D2-972C-3B1ADEDC67E0}" dt="2021-06-29T05:34:15.544" v="1" actId="680"/>
      <pc:docMkLst>
        <pc:docMk/>
      </pc:docMkLst>
      <pc:sldChg chg="ord">
        <pc:chgData name="Valakatla, Venu Kumar" userId="1520d755-dd4a-4372-9089-607e5adf5d10" providerId="ADAL" clId="{1365425F-294F-47D2-972C-3B1ADEDC67E0}" dt="2021-06-14T11:31:07.588" v="0" actId="20578"/>
        <pc:sldMkLst>
          <pc:docMk/>
          <pc:sldMk cId="1231956484" sldId="639"/>
        </pc:sldMkLst>
      </pc:sldChg>
      <pc:sldChg chg="new">
        <pc:chgData name="Valakatla, Venu Kumar" userId="1520d755-dd4a-4372-9089-607e5adf5d10" providerId="ADAL" clId="{1365425F-294F-47D2-972C-3B1ADEDC67E0}" dt="2021-06-29T05:34:15.544" v="1" actId="680"/>
        <pc:sldMkLst>
          <pc:docMk/>
          <pc:sldMk cId="3561798187" sldId="801"/>
        </pc:sldMkLst>
      </pc:sldChg>
    </pc:docChg>
  </pc:docChgLst>
  <pc:docChgLst>
    <pc:chgData name="Vallepalli, Thandava" userId="61f37ead-8e94-430f-ab46-1cf20f09dc50" providerId="ADAL" clId="{D12AE05C-7CA2-42D6-9D6F-A1B3C58C3F71}"/>
    <pc:docChg chg="modSld">
      <pc:chgData name="Vallepalli, Thandava" userId="61f37ead-8e94-430f-ab46-1cf20f09dc50" providerId="ADAL" clId="{D12AE05C-7CA2-42D6-9D6F-A1B3C58C3F71}" dt="2020-09-24T15:18:26.257" v="1" actId="1076"/>
      <pc:docMkLst>
        <pc:docMk/>
      </pc:docMkLst>
      <pc:sldChg chg="modSp mod">
        <pc:chgData name="Vallepalli, Thandava" userId="61f37ead-8e94-430f-ab46-1cf20f09dc50" providerId="ADAL" clId="{D12AE05C-7CA2-42D6-9D6F-A1B3C58C3F71}" dt="2020-09-24T15:18:26.257" v="1" actId="1076"/>
        <pc:sldMkLst>
          <pc:docMk/>
          <pc:sldMk cId="749221862" sldId="644"/>
        </pc:sldMkLst>
        <pc:picChg chg="mod">
          <ac:chgData name="Vallepalli, Thandava" userId="61f37ead-8e94-430f-ab46-1cf20f09dc50" providerId="ADAL" clId="{D12AE05C-7CA2-42D6-9D6F-A1B3C58C3F71}" dt="2020-09-24T15:18:26.257" v="1" actId="1076"/>
          <ac:picMkLst>
            <pc:docMk/>
            <pc:sldMk cId="749221862" sldId="644"/>
            <ac:picMk id="6" creationId="{9B4F8DC9-C8BC-4EA1-8EE5-DF9BF028030B}"/>
          </ac:picMkLst>
        </pc:picChg>
      </pc:sldChg>
    </pc:docChg>
  </pc:docChgLst>
  <pc:docChgLst>
    <pc:chgData name="Thotakura, Ashok" userId="8def16fa-05a4-42f6-9097-35114c55c601" providerId="ADAL" clId="{AA4A68A0-16E6-4C5D-A31F-A3FDA797C11B}"/>
    <pc:docChg chg="modSld">
      <pc:chgData name="Thotakura, Ashok" userId="8def16fa-05a4-42f6-9097-35114c55c601" providerId="ADAL" clId="{AA4A68A0-16E6-4C5D-A31F-A3FDA797C11B}" dt="2020-11-16T11:34:13.809" v="41" actId="20577"/>
      <pc:docMkLst>
        <pc:docMk/>
      </pc:docMkLst>
      <pc:sldChg chg="modSp">
        <pc:chgData name="Thotakura, Ashok" userId="8def16fa-05a4-42f6-9097-35114c55c601" providerId="ADAL" clId="{AA4A68A0-16E6-4C5D-A31F-A3FDA797C11B}" dt="2020-11-03T14:19:06.228" v="39" actId="20577"/>
        <pc:sldMkLst>
          <pc:docMk/>
          <pc:sldMk cId="2018669121" sldId="457"/>
        </pc:sldMkLst>
        <pc:spChg chg="mod">
          <ac:chgData name="Thotakura, Ashok" userId="8def16fa-05a4-42f6-9097-35114c55c601" providerId="ADAL" clId="{AA4A68A0-16E6-4C5D-A31F-A3FDA797C11B}" dt="2020-11-03T14:19:06.228" v="39" actId="20577"/>
          <ac:spMkLst>
            <pc:docMk/>
            <pc:sldMk cId="2018669121" sldId="457"/>
            <ac:spMk id="4" creationId="{00000000-0000-0000-0000-000000000000}"/>
          </ac:spMkLst>
        </pc:spChg>
        <pc:spChg chg="mod">
          <ac:chgData name="Thotakura, Ashok" userId="8def16fa-05a4-42f6-9097-35114c55c601" providerId="ADAL" clId="{AA4A68A0-16E6-4C5D-A31F-A3FDA797C11B}" dt="2020-11-03T14:18:55.373" v="36" actId="20577"/>
          <ac:spMkLst>
            <pc:docMk/>
            <pc:sldMk cId="2018669121" sldId="457"/>
            <ac:spMk id="5" creationId="{00000000-0000-0000-0000-000000000000}"/>
          </ac:spMkLst>
        </pc:spChg>
      </pc:sldChg>
      <pc:sldChg chg="modSp">
        <pc:chgData name="Thotakura, Ashok" userId="8def16fa-05a4-42f6-9097-35114c55c601" providerId="ADAL" clId="{AA4A68A0-16E6-4C5D-A31F-A3FDA797C11B}" dt="2020-11-16T11:34:13.809" v="41" actId="20577"/>
        <pc:sldMkLst>
          <pc:docMk/>
          <pc:sldMk cId="653286514" sldId="517"/>
        </pc:sldMkLst>
        <pc:graphicFrameChg chg="modGraphic">
          <ac:chgData name="Thotakura, Ashok" userId="8def16fa-05a4-42f6-9097-35114c55c601" providerId="ADAL" clId="{AA4A68A0-16E6-4C5D-A31F-A3FDA797C11B}" dt="2020-11-16T11:34:13.809" v="41" actId="20577"/>
          <ac:graphicFrameMkLst>
            <pc:docMk/>
            <pc:sldMk cId="653286514" sldId="517"/>
            <ac:graphicFrameMk id="3" creationId="{00000000-0000-0000-0000-000000000000}"/>
          </ac:graphicFrameMkLst>
        </pc:graphicFrameChg>
      </pc:sldChg>
      <pc:sldChg chg="modSp">
        <pc:chgData name="Thotakura, Ashok" userId="8def16fa-05a4-42f6-9097-35114c55c601" providerId="ADAL" clId="{AA4A68A0-16E6-4C5D-A31F-A3FDA797C11B}" dt="2020-11-03T14:18:34.446" v="32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AA4A68A0-16E6-4C5D-A31F-A3FDA797C11B}" dt="2020-11-03T14:18:34.446" v="32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modSp">
        <pc:chgData name="Thotakura, Ashok" userId="8def16fa-05a4-42f6-9097-35114c55c601" providerId="ADAL" clId="{AA4A68A0-16E6-4C5D-A31F-A3FDA797C11B}" dt="2020-10-29T07:27:39.719" v="12" actId="20577"/>
        <pc:sldMkLst>
          <pc:docMk/>
          <pc:sldMk cId="2307693630" sldId="630"/>
        </pc:sldMkLst>
        <pc:spChg chg="mod">
          <ac:chgData name="Thotakura, Ashok" userId="8def16fa-05a4-42f6-9097-35114c55c601" providerId="ADAL" clId="{AA4A68A0-16E6-4C5D-A31F-A3FDA797C11B}" dt="2020-10-29T07:27:39.719" v="12" actId="20577"/>
          <ac:spMkLst>
            <pc:docMk/>
            <pc:sldMk cId="2307693630" sldId="630"/>
            <ac:spMk id="5" creationId="{F4FE4BA0-7EB0-4F94-B2FA-FF85F4124305}"/>
          </ac:spMkLst>
        </pc:spChg>
      </pc:sldChg>
      <pc:sldChg chg="modSp">
        <pc:chgData name="Thotakura, Ashok" userId="8def16fa-05a4-42f6-9097-35114c55c601" providerId="ADAL" clId="{AA4A68A0-16E6-4C5D-A31F-A3FDA797C11B}" dt="2020-10-29T07:27:54.981" v="17" actId="20577"/>
        <pc:sldMkLst>
          <pc:docMk/>
          <pc:sldMk cId="311541567" sldId="640"/>
        </pc:sldMkLst>
        <pc:spChg chg="mod">
          <ac:chgData name="Thotakura, Ashok" userId="8def16fa-05a4-42f6-9097-35114c55c601" providerId="ADAL" clId="{AA4A68A0-16E6-4C5D-A31F-A3FDA797C11B}" dt="2020-10-29T07:27:54.981" v="17" actId="20577"/>
          <ac:spMkLst>
            <pc:docMk/>
            <pc:sldMk cId="311541567" sldId="640"/>
            <ac:spMk id="5" creationId="{F4FE4BA0-7EB0-4F94-B2FA-FF85F4124305}"/>
          </ac:spMkLst>
        </pc:spChg>
      </pc:sldChg>
    </pc:docChg>
  </pc:docChgLst>
  <pc:docChgLst>
    <pc:chgData name="Thotakura, Ashok" userId="8def16fa-05a4-42f6-9097-35114c55c601" providerId="ADAL" clId="{1C13217C-E5F3-457A-9484-1C095C9176D1}"/>
    <pc:docChg chg="delSld">
      <pc:chgData name="Thotakura, Ashok" userId="8def16fa-05a4-42f6-9097-35114c55c601" providerId="ADAL" clId="{1C13217C-E5F3-457A-9484-1C095C9176D1}" dt="2021-08-11T13:48:55.060" v="0" actId="47"/>
      <pc:docMkLst>
        <pc:docMk/>
      </pc:docMkLst>
      <pc:sldChg chg="del">
        <pc:chgData name="Thotakura, Ashok" userId="8def16fa-05a4-42f6-9097-35114c55c601" providerId="ADAL" clId="{1C13217C-E5F3-457A-9484-1C095C9176D1}" dt="2021-08-11T13:48:55.060" v="0" actId="47"/>
        <pc:sldMkLst>
          <pc:docMk/>
          <pc:sldMk cId="3561798187" sldId="801"/>
        </pc:sldMkLst>
      </pc:sldChg>
    </pc:docChg>
  </pc:docChgLst>
  <pc:docChgLst>
    <pc:chgData name="Vallepalli, Thandava" userId="61f37ead-8e94-430f-ab46-1cf20f09dc50" providerId="ADAL" clId="{EBF5F96A-2DC2-4A85-8164-4A520FBA720C}"/>
    <pc:docChg chg="custSel modSld sldOrd">
      <pc:chgData name="Vallepalli, Thandava" userId="61f37ead-8e94-430f-ab46-1cf20f09dc50" providerId="ADAL" clId="{EBF5F96A-2DC2-4A85-8164-4A520FBA720C}" dt="2021-04-02T20:01:49.966" v="2" actId="1076"/>
      <pc:docMkLst>
        <pc:docMk/>
      </pc:docMkLst>
      <pc:sldChg chg="ord">
        <pc:chgData name="Vallepalli, Thandava" userId="61f37ead-8e94-430f-ab46-1cf20f09dc50" providerId="ADAL" clId="{EBF5F96A-2DC2-4A85-8164-4A520FBA720C}" dt="2021-04-02T20:01:38.426" v="0"/>
        <pc:sldMkLst>
          <pc:docMk/>
          <pc:sldMk cId="653286514" sldId="517"/>
        </pc:sldMkLst>
      </pc:sldChg>
      <pc:sldChg chg="modSp modNotes">
        <pc:chgData name="Vallepalli, Thandava" userId="61f37ead-8e94-430f-ab46-1cf20f09dc50" providerId="ADAL" clId="{EBF5F96A-2DC2-4A85-8164-4A520FBA720C}" dt="2021-04-02T20:01:49.966" v="2" actId="1076"/>
        <pc:sldMkLst>
          <pc:docMk/>
          <pc:sldMk cId="4267676092" sldId="653"/>
        </pc:sldMkLst>
        <pc:picChg chg="mod">
          <ac:chgData name="Vallepalli, Thandava" userId="61f37ead-8e94-430f-ab46-1cf20f09dc50" providerId="ADAL" clId="{EBF5F96A-2DC2-4A85-8164-4A520FBA720C}" dt="2021-04-02T20:01:49.966" v="2" actId="1076"/>
          <ac:picMkLst>
            <pc:docMk/>
            <pc:sldMk cId="4267676092" sldId="653"/>
            <ac:picMk id="6" creationId="{CD7D3321-AC60-4C97-8299-CE77A40BC32F}"/>
          </ac:picMkLst>
        </pc:picChg>
      </pc:sldChg>
    </pc:docChg>
  </pc:docChgLst>
  <pc:docChgLst>
    <pc:chgData name="Kumar, Ajeet" userId="661d08dd-ab26-4509-997f-87013a4e6522" providerId="ADAL" clId="{DECAFC8D-6632-48ED-AFDC-6AF333EBA9D8}"/>
    <pc:docChg chg="modSld">
      <pc:chgData name="Kumar, Ajeet" userId="661d08dd-ab26-4509-997f-87013a4e6522" providerId="ADAL" clId="{DECAFC8D-6632-48ED-AFDC-6AF333EBA9D8}" dt="2021-04-12T19:46:11.378" v="0" actId="1076"/>
      <pc:docMkLst>
        <pc:docMk/>
      </pc:docMkLst>
      <pc:sldChg chg="modSp">
        <pc:chgData name="Kumar, Ajeet" userId="661d08dd-ab26-4509-997f-87013a4e6522" providerId="ADAL" clId="{DECAFC8D-6632-48ED-AFDC-6AF333EBA9D8}" dt="2021-04-12T19:46:11.378" v="0" actId="1076"/>
        <pc:sldMkLst>
          <pc:docMk/>
          <pc:sldMk cId="4267676092" sldId="653"/>
        </pc:sldMkLst>
        <pc:picChg chg="mod">
          <ac:chgData name="Kumar, Ajeet" userId="661d08dd-ab26-4509-997f-87013a4e6522" providerId="ADAL" clId="{DECAFC8D-6632-48ED-AFDC-6AF333EBA9D8}" dt="2021-04-12T19:46:11.378" v="0" actId="1076"/>
          <ac:picMkLst>
            <pc:docMk/>
            <pc:sldMk cId="4267676092" sldId="653"/>
            <ac:picMk id="6" creationId="{CD7D3321-AC60-4C97-8299-CE77A40BC32F}"/>
          </ac:picMkLst>
        </pc:picChg>
      </pc:sldChg>
    </pc:docChg>
  </pc:docChgLst>
  <pc:docChgLst>
    <pc:chgData name="Salo, Oleksii" userId="93bf518f-c42e-401c-94d3-e6a64f8b1bb1" providerId="ADAL" clId="{F8119334-7314-41B7-8299-5A337F646171}"/>
    <pc:docChg chg="modSld sldOrd">
      <pc:chgData name="Salo, Oleksii" userId="93bf518f-c42e-401c-94d3-e6a64f8b1bb1" providerId="ADAL" clId="{F8119334-7314-41B7-8299-5A337F646171}" dt="2021-05-17T16:42:23.004" v="0"/>
      <pc:docMkLst>
        <pc:docMk/>
      </pc:docMkLst>
      <pc:sldChg chg="ord">
        <pc:chgData name="Salo, Oleksii" userId="93bf518f-c42e-401c-94d3-e6a64f8b1bb1" providerId="ADAL" clId="{F8119334-7314-41B7-8299-5A337F646171}" dt="2021-05-17T16:42:23.004" v="0"/>
        <pc:sldMkLst>
          <pc:docMk/>
          <pc:sldMk cId="256710749" sldId="522"/>
        </pc:sldMkLst>
      </pc:sldChg>
    </pc:docChg>
  </pc:docChgLst>
  <pc:docChgLst>
    <pc:chgData name="Thotakura, Ashok" userId="8def16fa-05a4-42f6-9097-35114c55c601" providerId="ADAL" clId="{8704C1DE-0D16-47A5-8CAE-92B3EE058A93}"/>
    <pc:docChg chg="undo redo custSel addSld delSld modSld sldOrd delMainMaster">
      <pc:chgData name="Thotakura, Ashok" userId="8def16fa-05a4-42f6-9097-35114c55c601" providerId="ADAL" clId="{8704C1DE-0D16-47A5-8CAE-92B3EE058A93}" dt="2021-06-14T13:17:06.369" v="4245" actId="20577"/>
      <pc:docMkLst>
        <pc:docMk/>
      </pc:docMkLst>
      <pc:sldChg chg="modSp">
        <pc:chgData name="Thotakura, Ashok" userId="8def16fa-05a4-42f6-9097-35114c55c601" providerId="ADAL" clId="{8704C1DE-0D16-47A5-8CAE-92B3EE058A93}" dt="2021-06-03T10:52:00.657" v="3"/>
        <pc:sldMkLst>
          <pc:docMk/>
          <pc:sldMk cId="2018669121" sldId="457"/>
        </pc:sldMkLst>
        <pc:spChg chg="mod">
          <ac:chgData name="Thotakura, Ashok" userId="8def16fa-05a4-42f6-9097-35114c55c601" providerId="ADAL" clId="{8704C1DE-0D16-47A5-8CAE-92B3EE058A93}" dt="2021-06-03T10:51:29.171" v="0" actId="20577"/>
          <ac:spMkLst>
            <pc:docMk/>
            <pc:sldMk cId="2018669121" sldId="457"/>
            <ac:spMk id="4" creationId="{00000000-0000-0000-0000-000000000000}"/>
          </ac:spMkLst>
        </pc:spChg>
        <pc:spChg chg="mod">
          <ac:chgData name="Thotakura, Ashok" userId="8def16fa-05a4-42f6-9097-35114c55c601" providerId="ADAL" clId="{8704C1DE-0D16-47A5-8CAE-92B3EE058A93}" dt="2021-06-03T10:51:38.796" v="2" actId="20577"/>
          <ac:spMkLst>
            <pc:docMk/>
            <pc:sldMk cId="2018669121" sldId="457"/>
            <ac:spMk id="5" creationId="{00000000-0000-0000-0000-000000000000}"/>
          </ac:spMkLst>
        </pc:spChg>
        <pc:spChg chg="mod">
          <ac:chgData name="Thotakura, Ashok" userId="8def16fa-05a4-42f6-9097-35114c55c601" providerId="ADAL" clId="{8704C1DE-0D16-47A5-8CAE-92B3EE058A93}" dt="2021-06-03T10:52:00.657" v="3"/>
          <ac:spMkLst>
            <pc:docMk/>
            <pc:sldMk cId="2018669121" sldId="457"/>
            <ac:spMk id="6" creationId="{AE8CBF6B-8B2C-4673-8FE9-34F3AEA9567B}"/>
          </ac:spMkLst>
        </pc:spChg>
      </pc:sldChg>
      <pc:sldChg chg="addSp delSp mod ord">
        <pc:chgData name="Thotakura, Ashok" userId="8def16fa-05a4-42f6-9097-35114c55c601" providerId="ADAL" clId="{8704C1DE-0D16-47A5-8CAE-92B3EE058A93}" dt="2021-06-14T10:01:55.322" v="4014"/>
        <pc:sldMkLst>
          <pc:docMk/>
          <pc:sldMk cId="1764304501" sldId="473"/>
        </pc:sldMkLst>
        <pc:inkChg chg="add del">
          <ac:chgData name="Thotakura, Ashok" userId="8def16fa-05a4-42f6-9097-35114c55c601" providerId="ADAL" clId="{8704C1DE-0D16-47A5-8CAE-92B3EE058A93}" dt="2021-06-09T11:06:31.425" v="374" actId="478"/>
          <ac:inkMkLst>
            <pc:docMk/>
            <pc:sldMk cId="1764304501" sldId="473"/>
            <ac:inkMk id="3" creationId="{CAD348EB-F757-40C9-BE49-CA5B04853519}"/>
          </ac:inkMkLst>
        </pc:inkChg>
        <pc:inkChg chg="add del">
          <ac:chgData name="Thotakura, Ashok" userId="8def16fa-05a4-42f6-9097-35114c55c601" providerId="ADAL" clId="{8704C1DE-0D16-47A5-8CAE-92B3EE058A93}" dt="2021-06-09T11:06:31.032" v="373" actId="478"/>
          <ac:inkMkLst>
            <pc:docMk/>
            <pc:sldMk cId="1764304501" sldId="473"/>
            <ac:inkMk id="4" creationId="{D2569B2E-4B98-4F22-BA7F-FB943ECE7CBD}"/>
          </ac:inkMkLst>
        </pc:inkChg>
        <pc:inkChg chg="add del">
          <ac:chgData name="Thotakura, Ashok" userId="8def16fa-05a4-42f6-9097-35114c55c601" providerId="ADAL" clId="{8704C1DE-0D16-47A5-8CAE-92B3EE058A93}" dt="2021-06-09T11:06:30.490" v="372" actId="478"/>
          <ac:inkMkLst>
            <pc:docMk/>
            <pc:sldMk cId="1764304501" sldId="473"/>
            <ac:inkMk id="5" creationId="{14256423-EB75-48AC-98F2-20D458717788}"/>
          </ac:inkMkLst>
        </pc:inkChg>
        <pc:inkChg chg="add del">
          <ac:chgData name="Thotakura, Ashok" userId="8def16fa-05a4-42f6-9097-35114c55c601" providerId="ADAL" clId="{8704C1DE-0D16-47A5-8CAE-92B3EE058A93}" dt="2021-06-09T11:06:31.820" v="375" actId="478"/>
          <ac:inkMkLst>
            <pc:docMk/>
            <pc:sldMk cId="1764304501" sldId="473"/>
            <ac:inkMk id="13" creationId="{F531C4D5-98FA-4C1D-89E2-FA6F0805FBD4}"/>
          </ac:inkMkLst>
        </pc:inkChg>
      </pc:sldChg>
      <pc:sldChg chg="del">
        <pc:chgData name="Thotakura, Ashok" userId="8def16fa-05a4-42f6-9097-35114c55c601" providerId="ADAL" clId="{8704C1DE-0D16-47A5-8CAE-92B3EE058A93}" dt="2021-06-14T08:16:58.084" v="3369" actId="47"/>
        <pc:sldMkLst>
          <pc:docMk/>
          <pc:sldMk cId="3772836641" sldId="474"/>
        </pc:sldMkLst>
      </pc:sldChg>
      <pc:sldChg chg="del">
        <pc:chgData name="Thotakura, Ashok" userId="8def16fa-05a4-42f6-9097-35114c55c601" providerId="ADAL" clId="{8704C1DE-0D16-47A5-8CAE-92B3EE058A93}" dt="2021-06-14T08:17:10.119" v="3374" actId="47"/>
        <pc:sldMkLst>
          <pc:docMk/>
          <pc:sldMk cId="1274569217" sldId="493"/>
        </pc:sldMkLst>
      </pc:sldChg>
      <pc:sldChg chg="del">
        <pc:chgData name="Thotakura, Ashok" userId="8def16fa-05a4-42f6-9097-35114c55c601" providerId="ADAL" clId="{8704C1DE-0D16-47A5-8CAE-92B3EE058A93}" dt="2021-06-14T08:17:09.063" v="3373" actId="47"/>
        <pc:sldMkLst>
          <pc:docMk/>
          <pc:sldMk cId="4073052137" sldId="503"/>
        </pc:sldMkLst>
      </pc:sldChg>
      <pc:sldChg chg="delSp add del mod ord">
        <pc:chgData name="Thotakura, Ashok" userId="8def16fa-05a4-42f6-9097-35114c55c601" providerId="ADAL" clId="{8704C1DE-0D16-47A5-8CAE-92B3EE058A93}" dt="2021-06-14T09:09:31.543" v="3763"/>
        <pc:sldMkLst>
          <pc:docMk/>
          <pc:sldMk cId="653286514" sldId="517"/>
        </pc:sldMkLst>
        <pc:spChg chg="del">
          <ac:chgData name="Thotakura, Ashok" userId="8def16fa-05a4-42f6-9097-35114c55c601" providerId="ADAL" clId="{8704C1DE-0D16-47A5-8CAE-92B3EE058A93}" dt="2021-06-07T09:59:15.468" v="78" actId="478"/>
          <ac:spMkLst>
            <pc:docMk/>
            <pc:sldMk cId="653286514" sldId="517"/>
            <ac:spMk id="2" creationId="{54374DFB-0CD9-4794-BE2D-AAB63DFE204F}"/>
          </ac:spMkLst>
        </pc:spChg>
      </pc:sldChg>
      <pc:sldChg chg="del">
        <pc:chgData name="Thotakura, Ashok" userId="8def16fa-05a4-42f6-9097-35114c55c601" providerId="ADAL" clId="{8704C1DE-0D16-47A5-8CAE-92B3EE058A93}" dt="2021-06-14T08:17:07.836" v="3372" actId="47"/>
        <pc:sldMkLst>
          <pc:docMk/>
          <pc:sldMk cId="2536241305" sldId="519"/>
        </pc:sldMkLst>
      </pc:sldChg>
      <pc:sldChg chg="del">
        <pc:chgData name="Thotakura, Ashok" userId="8def16fa-05a4-42f6-9097-35114c55c601" providerId="ADAL" clId="{8704C1DE-0D16-47A5-8CAE-92B3EE058A93}" dt="2021-06-14T09:09:19.139" v="3757" actId="47"/>
        <pc:sldMkLst>
          <pc:docMk/>
          <pc:sldMk cId="1564247609" sldId="521"/>
        </pc:sldMkLst>
      </pc:sldChg>
      <pc:sldChg chg="del">
        <pc:chgData name="Thotakura, Ashok" userId="8def16fa-05a4-42f6-9097-35114c55c601" providerId="ADAL" clId="{8704C1DE-0D16-47A5-8CAE-92B3EE058A93}" dt="2021-06-14T09:09:20.542" v="3759" actId="47"/>
        <pc:sldMkLst>
          <pc:docMk/>
          <pc:sldMk cId="256710749" sldId="522"/>
        </pc:sldMkLst>
      </pc:sldChg>
      <pc:sldChg chg="del">
        <pc:chgData name="Thotakura, Ashok" userId="8def16fa-05a4-42f6-9097-35114c55c601" providerId="ADAL" clId="{8704C1DE-0D16-47A5-8CAE-92B3EE058A93}" dt="2021-06-14T08:17:11.810" v="3376" actId="47"/>
        <pc:sldMkLst>
          <pc:docMk/>
          <pc:sldMk cId="2901010582" sldId="525"/>
        </pc:sldMkLst>
      </pc:sldChg>
      <pc:sldChg chg="ord">
        <pc:chgData name="Thotakura, Ashok" userId="8def16fa-05a4-42f6-9097-35114c55c601" providerId="ADAL" clId="{8704C1DE-0D16-47A5-8CAE-92B3EE058A93}" dt="2021-06-14T09:18:14.445" v="3884"/>
        <pc:sldMkLst>
          <pc:docMk/>
          <pc:sldMk cId="3438221511" sldId="526"/>
        </pc:sldMkLst>
      </pc:sldChg>
      <pc:sldChg chg="del">
        <pc:chgData name="Thotakura, Ashok" userId="8def16fa-05a4-42f6-9097-35114c55c601" providerId="ADAL" clId="{8704C1DE-0D16-47A5-8CAE-92B3EE058A93}" dt="2021-06-14T08:17:05.444" v="3371" actId="47"/>
        <pc:sldMkLst>
          <pc:docMk/>
          <pc:sldMk cId="2601424541" sldId="624"/>
        </pc:sldMkLst>
      </pc:sldChg>
      <pc:sldChg chg="del">
        <pc:chgData name="Thotakura, Ashok" userId="8def16fa-05a4-42f6-9097-35114c55c601" providerId="ADAL" clId="{8704C1DE-0D16-47A5-8CAE-92B3EE058A93}" dt="2021-06-14T08:17:10.948" v="3375" actId="47"/>
        <pc:sldMkLst>
          <pc:docMk/>
          <pc:sldMk cId="1997234634" sldId="625"/>
        </pc:sldMkLst>
      </pc:sldChg>
      <pc:sldChg chg="addSp delSp modSp mod">
        <pc:chgData name="Thotakura, Ashok" userId="8def16fa-05a4-42f6-9097-35114c55c601" providerId="ADAL" clId="{8704C1DE-0D16-47A5-8CAE-92B3EE058A93}" dt="2021-06-14T12:13:10.279" v="4242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8704C1DE-0D16-47A5-8CAE-92B3EE058A93}" dt="2021-06-14T12:13:10.279" v="4242" actId="20577"/>
          <ac:spMkLst>
            <pc:docMk/>
            <pc:sldMk cId="954719197" sldId="626"/>
            <ac:spMk id="17" creationId="{C4353D8C-2FE4-404C-B620-F2FDADF7A733}"/>
          </ac:spMkLst>
        </pc:spChg>
        <pc:graphicFrameChg chg="add del modGraphic">
          <ac:chgData name="Thotakura, Ashok" userId="8def16fa-05a4-42f6-9097-35114c55c601" providerId="ADAL" clId="{8704C1DE-0D16-47A5-8CAE-92B3EE058A93}" dt="2021-06-09T10:52:20.228" v="80" actId="27309"/>
          <ac:graphicFrameMkLst>
            <pc:docMk/>
            <pc:sldMk cId="954719197" sldId="626"/>
            <ac:graphicFrameMk id="18" creationId="{C4148107-7E3C-4838-8ADC-07E659C9F765}"/>
          </ac:graphicFrameMkLst>
        </pc:graphicFrameChg>
        <pc:inkChg chg="add del">
          <ac:chgData name="Thotakura, Ashok" userId="8def16fa-05a4-42f6-9097-35114c55c601" providerId="ADAL" clId="{8704C1DE-0D16-47A5-8CAE-92B3EE058A93}" dt="2021-06-09T11:00:01.176" v="334" actId="9405"/>
          <ac:inkMkLst>
            <pc:docMk/>
            <pc:sldMk cId="954719197" sldId="626"/>
            <ac:inkMk id="19" creationId="{3F2BFF94-39A1-42AE-B207-DE69F7543AC9}"/>
          </ac:inkMkLst>
        </pc:inkChg>
        <pc:inkChg chg="add del">
          <ac:chgData name="Thotakura, Ashok" userId="8def16fa-05a4-42f6-9097-35114c55c601" providerId="ADAL" clId="{8704C1DE-0D16-47A5-8CAE-92B3EE058A93}" dt="2021-06-09T11:00:00.416" v="333" actId="9405"/>
          <ac:inkMkLst>
            <pc:docMk/>
            <pc:sldMk cId="954719197" sldId="626"/>
            <ac:inkMk id="20" creationId="{1951A22B-0C19-4445-B0CD-B5FA2703CCAC}"/>
          </ac:inkMkLst>
        </pc:inkChg>
      </pc:sldChg>
      <pc:sldChg chg="del">
        <pc:chgData name="Thotakura, Ashok" userId="8def16fa-05a4-42f6-9097-35114c55c601" providerId="ADAL" clId="{8704C1DE-0D16-47A5-8CAE-92B3EE058A93}" dt="2021-06-14T08:16:42.118" v="3367" actId="47"/>
        <pc:sldMkLst>
          <pc:docMk/>
          <pc:sldMk cId="2307693630" sldId="630"/>
        </pc:sldMkLst>
      </pc:sldChg>
      <pc:sldChg chg="addSp delSp modSp mod">
        <pc:chgData name="Thotakura, Ashok" userId="8def16fa-05a4-42f6-9097-35114c55c601" providerId="ADAL" clId="{8704C1DE-0D16-47A5-8CAE-92B3EE058A93}" dt="2021-06-14T07:14:37.047" v="2859" actId="9405"/>
        <pc:sldMkLst>
          <pc:docMk/>
          <pc:sldMk cId="1996427620" sldId="634"/>
        </pc:sldMkLst>
        <pc:picChg chg="del">
          <ac:chgData name="Thotakura, Ashok" userId="8def16fa-05a4-42f6-9097-35114c55c601" providerId="ADAL" clId="{8704C1DE-0D16-47A5-8CAE-92B3EE058A93}" dt="2021-06-14T06:16:24.875" v="2633" actId="478"/>
          <ac:picMkLst>
            <pc:docMk/>
            <pc:sldMk cId="1996427620" sldId="634"/>
            <ac:picMk id="2" creationId="{759621E2-E82E-44F6-B1F8-7A2210B5FB62}"/>
          </ac:picMkLst>
        </pc:picChg>
        <pc:picChg chg="add del">
          <ac:chgData name="Thotakura, Ashok" userId="8def16fa-05a4-42f6-9097-35114c55c601" providerId="ADAL" clId="{8704C1DE-0D16-47A5-8CAE-92B3EE058A93}" dt="2021-06-14T06:26:49.884" v="2636" actId="478"/>
          <ac:picMkLst>
            <pc:docMk/>
            <pc:sldMk cId="1996427620" sldId="634"/>
            <ac:picMk id="8" creationId="{BDF948B7-75E1-4F70-940D-1DCD796F51CF}"/>
          </ac:picMkLst>
        </pc:picChg>
        <pc:picChg chg="add del mod">
          <ac:chgData name="Thotakura, Ashok" userId="8def16fa-05a4-42f6-9097-35114c55c601" providerId="ADAL" clId="{8704C1DE-0D16-47A5-8CAE-92B3EE058A93}" dt="2021-06-14T06:27:01.275" v="2642" actId="478"/>
          <ac:picMkLst>
            <pc:docMk/>
            <pc:sldMk cId="1996427620" sldId="634"/>
            <ac:picMk id="9" creationId="{1DC74694-FFC3-4B51-A62D-0BEB74166565}"/>
          </ac:picMkLst>
        </pc:picChg>
        <pc:picChg chg="add">
          <ac:chgData name="Thotakura, Ashok" userId="8def16fa-05a4-42f6-9097-35114c55c601" providerId="ADAL" clId="{8704C1DE-0D16-47A5-8CAE-92B3EE058A93}" dt="2021-06-14T06:27:03.839" v="2643"/>
          <ac:picMkLst>
            <pc:docMk/>
            <pc:sldMk cId="1996427620" sldId="634"/>
            <ac:picMk id="10" creationId="{71A4620C-4F74-4DDE-856C-E859BED3B725}"/>
          </ac:picMkLst>
        </pc:picChg>
        <pc:inkChg chg="add del">
          <ac:chgData name="Thotakura, Ashok" userId="8def16fa-05a4-42f6-9097-35114c55c601" providerId="ADAL" clId="{8704C1DE-0D16-47A5-8CAE-92B3EE058A93}" dt="2021-06-14T06:26:58.867" v="2641" actId="478"/>
          <ac:inkMkLst>
            <pc:docMk/>
            <pc:sldMk cId="1996427620" sldId="634"/>
            <ac:inkMk id="3" creationId="{E48A870E-83C7-4B66-88A7-D2B3D7068E06}"/>
          </ac:inkMkLst>
        </pc:inkChg>
        <pc:inkChg chg="del">
          <ac:chgData name="Thotakura, Ashok" userId="8def16fa-05a4-42f6-9097-35114c55c601" providerId="ADAL" clId="{8704C1DE-0D16-47A5-8CAE-92B3EE058A93}" dt="2021-06-09T10:59:29.682" v="328" actId="478"/>
          <ac:inkMkLst>
            <pc:docMk/>
            <pc:sldMk cId="1996427620" sldId="634"/>
            <ac:inkMk id="4" creationId="{93D50194-983B-45FB-A417-42B41E107D5E}"/>
          </ac:inkMkLst>
        </pc:inkChg>
        <pc:inkChg chg="del">
          <ac:chgData name="Thotakura, Ashok" userId="8def16fa-05a4-42f6-9097-35114c55c601" providerId="ADAL" clId="{8704C1DE-0D16-47A5-8CAE-92B3EE058A93}" dt="2021-06-09T10:59:26.974" v="326" actId="478"/>
          <ac:inkMkLst>
            <pc:docMk/>
            <pc:sldMk cId="1996427620" sldId="634"/>
            <ac:inkMk id="5" creationId="{D7304B7B-C7D5-446E-A390-77E1BB0EEA01}"/>
          </ac:inkMkLst>
        </pc:inkChg>
        <pc:inkChg chg="del">
          <ac:chgData name="Thotakura, Ashok" userId="8def16fa-05a4-42f6-9097-35114c55c601" providerId="ADAL" clId="{8704C1DE-0D16-47A5-8CAE-92B3EE058A93}" dt="2021-06-09T10:59:27.943" v="327" actId="478"/>
          <ac:inkMkLst>
            <pc:docMk/>
            <pc:sldMk cId="1996427620" sldId="634"/>
            <ac:inkMk id="6" creationId="{113D6607-EE35-43A3-9622-EA7E1B2E37DD}"/>
          </ac:inkMkLst>
        </pc:inkChg>
        <pc:inkChg chg="add del mod">
          <ac:chgData name="Thotakura, Ashok" userId="8def16fa-05a4-42f6-9097-35114c55c601" providerId="ADAL" clId="{8704C1DE-0D16-47A5-8CAE-92B3EE058A93}" dt="2021-06-14T06:26:56.959" v="2640" actId="478"/>
          <ac:inkMkLst>
            <pc:docMk/>
            <pc:sldMk cId="1996427620" sldId="634"/>
            <ac:inkMk id="7" creationId="{49F12ECC-7B23-4EFF-A812-3FEF8C651D37}"/>
          </ac:inkMkLst>
        </pc:inkChg>
        <pc:inkChg chg="add">
          <ac:chgData name="Thotakura, Ashok" userId="8def16fa-05a4-42f6-9097-35114c55c601" providerId="ADAL" clId="{8704C1DE-0D16-47A5-8CAE-92B3EE058A93}" dt="2021-06-14T07:14:20.034" v="2857" actId="9405"/>
          <ac:inkMkLst>
            <pc:docMk/>
            <pc:sldMk cId="1996427620" sldId="634"/>
            <ac:inkMk id="11" creationId="{BC290ADF-857B-46FB-85AF-781025362732}"/>
          </ac:inkMkLst>
        </pc:inkChg>
        <pc:inkChg chg="add">
          <ac:chgData name="Thotakura, Ashok" userId="8def16fa-05a4-42f6-9097-35114c55c601" providerId="ADAL" clId="{8704C1DE-0D16-47A5-8CAE-92B3EE058A93}" dt="2021-06-14T07:14:29.249" v="2858" actId="9405"/>
          <ac:inkMkLst>
            <pc:docMk/>
            <pc:sldMk cId="1996427620" sldId="634"/>
            <ac:inkMk id="12" creationId="{A2576D47-C283-4061-AB76-9776FD2B4545}"/>
          </ac:inkMkLst>
        </pc:inkChg>
        <pc:inkChg chg="add">
          <ac:chgData name="Thotakura, Ashok" userId="8def16fa-05a4-42f6-9097-35114c55c601" providerId="ADAL" clId="{8704C1DE-0D16-47A5-8CAE-92B3EE058A93}" dt="2021-06-14T07:14:37.047" v="2859" actId="9405"/>
          <ac:inkMkLst>
            <pc:docMk/>
            <pc:sldMk cId="1996427620" sldId="634"/>
            <ac:inkMk id="13" creationId="{A2AF39BB-98E3-4B69-BDE9-C94C4CF30BA6}"/>
          </ac:inkMkLst>
        </pc:inkChg>
        <pc:inkChg chg="del">
          <ac:chgData name="Thotakura, Ashok" userId="8def16fa-05a4-42f6-9097-35114c55c601" providerId="ADAL" clId="{8704C1DE-0D16-47A5-8CAE-92B3EE058A93}" dt="2021-06-09T10:59:25.435" v="325" actId="478"/>
          <ac:inkMkLst>
            <pc:docMk/>
            <pc:sldMk cId="1996427620" sldId="634"/>
            <ac:inkMk id="16" creationId="{6DCD0162-8A4D-4A72-B7F3-E6B29A75E1B1}"/>
          </ac:inkMkLst>
        </pc:inkChg>
      </pc:sldChg>
      <pc:sldChg chg="addSp delSp mod">
        <pc:chgData name="Thotakura, Ashok" userId="8def16fa-05a4-42f6-9097-35114c55c601" providerId="ADAL" clId="{8704C1DE-0D16-47A5-8CAE-92B3EE058A93}" dt="2021-06-09T11:06:03.449" v="364" actId="9405"/>
        <pc:sldMkLst>
          <pc:docMk/>
          <pc:sldMk cId="1231956484" sldId="639"/>
        </pc:sldMkLst>
        <pc:picChg chg="del">
          <ac:chgData name="Thotakura, Ashok" userId="8def16fa-05a4-42f6-9097-35114c55c601" providerId="ADAL" clId="{8704C1DE-0D16-47A5-8CAE-92B3EE058A93}" dt="2021-06-09T11:04:19.874" v="354" actId="478"/>
          <ac:picMkLst>
            <pc:docMk/>
            <pc:sldMk cId="1231956484" sldId="639"/>
            <ac:picMk id="3" creationId="{4E1A0C19-0CF0-411C-BDB0-82C1A9D22782}"/>
          </ac:picMkLst>
        </pc:picChg>
        <pc:picChg chg="add">
          <ac:chgData name="Thotakura, Ashok" userId="8def16fa-05a4-42f6-9097-35114c55c601" providerId="ADAL" clId="{8704C1DE-0D16-47A5-8CAE-92B3EE058A93}" dt="2021-06-09T11:04:25.727" v="356"/>
          <ac:picMkLst>
            <pc:docMk/>
            <pc:sldMk cId="1231956484" sldId="639"/>
            <ac:picMk id="5" creationId="{0D0E3EAA-77AB-475B-A9D5-ED10B596ABC2}"/>
          </ac:picMkLst>
        </pc:picChg>
        <pc:inkChg chg="del">
          <ac:chgData name="Thotakura, Ashok" userId="8def16fa-05a4-42f6-9097-35114c55c601" providerId="ADAL" clId="{8704C1DE-0D16-47A5-8CAE-92B3EE058A93}" dt="2021-06-09T11:04:23.551" v="355" actId="478"/>
          <ac:inkMkLst>
            <pc:docMk/>
            <pc:sldMk cId="1231956484" sldId="639"/>
            <ac:inkMk id="2" creationId="{6A4647A8-02ED-4220-A1CA-6DB9F354BBF3}"/>
          </ac:inkMkLst>
        </pc:inkChg>
        <pc:inkChg chg="del">
          <ac:chgData name="Thotakura, Ashok" userId="8def16fa-05a4-42f6-9097-35114c55c601" providerId="ADAL" clId="{8704C1DE-0D16-47A5-8CAE-92B3EE058A93}" dt="2021-06-09T11:04:23.551" v="355" actId="478"/>
          <ac:inkMkLst>
            <pc:docMk/>
            <pc:sldMk cId="1231956484" sldId="639"/>
            <ac:inkMk id="4" creationId="{BC751094-EA6E-4635-A424-F60DA858087A}"/>
          </ac:inkMkLst>
        </pc:inkChg>
        <pc:inkChg chg="del">
          <ac:chgData name="Thotakura, Ashok" userId="8def16fa-05a4-42f6-9097-35114c55c601" providerId="ADAL" clId="{8704C1DE-0D16-47A5-8CAE-92B3EE058A93}" dt="2021-06-09T11:04:23.551" v="355" actId="478"/>
          <ac:inkMkLst>
            <pc:docMk/>
            <pc:sldMk cId="1231956484" sldId="639"/>
            <ac:inkMk id="6" creationId="{E9AA63C2-EB98-4EEE-B7E8-9414918907F1}"/>
          </ac:inkMkLst>
        </pc:inkChg>
        <pc:inkChg chg="del">
          <ac:chgData name="Thotakura, Ashok" userId="8def16fa-05a4-42f6-9097-35114c55c601" providerId="ADAL" clId="{8704C1DE-0D16-47A5-8CAE-92B3EE058A93}" dt="2021-06-09T11:04:23.551" v="355" actId="478"/>
          <ac:inkMkLst>
            <pc:docMk/>
            <pc:sldMk cId="1231956484" sldId="639"/>
            <ac:inkMk id="7" creationId="{AC9D18D3-C20C-422A-B232-70F507F40EA5}"/>
          </ac:inkMkLst>
        </pc:inkChg>
        <pc:inkChg chg="add">
          <ac:chgData name="Thotakura, Ashok" userId="8def16fa-05a4-42f6-9097-35114c55c601" providerId="ADAL" clId="{8704C1DE-0D16-47A5-8CAE-92B3EE058A93}" dt="2021-06-09T11:05:13.193" v="357" actId="9405"/>
          <ac:inkMkLst>
            <pc:docMk/>
            <pc:sldMk cId="1231956484" sldId="639"/>
            <ac:inkMk id="8" creationId="{2B86C6F8-FB8F-47A3-B27B-B61009DBD3EB}"/>
          </ac:inkMkLst>
        </pc:inkChg>
        <pc:inkChg chg="add">
          <ac:chgData name="Thotakura, Ashok" userId="8def16fa-05a4-42f6-9097-35114c55c601" providerId="ADAL" clId="{8704C1DE-0D16-47A5-8CAE-92B3EE058A93}" dt="2021-06-09T11:05:21.106" v="358" actId="9405"/>
          <ac:inkMkLst>
            <pc:docMk/>
            <pc:sldMk cId="1231956484" sldId="639"/>
            <ac:inkMk id="9" creationId="{4F7EA3E1-11AC-49E8-8C79-34D19F376DB5}"/>
          </ac:inkMkLst>
        </pc:inkChg>
        <pc:inkChg chg="add">
          <ac:chgData name="Thotakura, Ashok" userId="8def16fa-05a4-42f6-9097-35114c55c601" providerId="ADAL" clId="{8704C1DE-0D16-47A5-8CAE-92B3EE058A93}" dt="2021-06-09T11:05:33.990" v="359" actId="9405"/>
          <ac:inkMkLst>
            <pc:docMk/>
            <pc:sldMk cId="1231956484" sldId="639"/>
            <ac:inkMk id="10" creationId="{504CD81D-F6FE-452F-BE34-F3A4CBA03DE9}"/>
          </ac:inkMkLst>
        </pc:inkChg>
        <pc:inkChg chg="add">
          <ac:chgData name="Thotakura, Ashok" userId="8def16fa-05a4-42f6-9097-35114c55c601" providerId="ADAL" clId="{8704C1DE-0D16-47A5-8CAE-92B3EE058A93}" dt="2021-06-09T11:05:42.293" v="360" actId="9405"/>
          <ac:inkMkLst>
            <pc:docMk/>
            <pc:sldMk cId="1231956484" sldId="639"/>
            <ac:inkMk id="11" creationId="{1044F04B-BF1D-4303-9D3B-393E0918DE69}"/>
          </ac:inkMkLst>
        </pc:inkChg>
        <pc:inkChg chg="add">
          <ac:chgData name="Thotakura, Ashok" userId="8def16fa-05a4-42f6-9097-35114c55c601" providerId="ADAL" clId="{8704C1DE-0D16-47A5-8CAE-92B3EE058A93}" dt="2021-06-09T11:05:51.052" v="361" actId="9405"/>
          <ac:inkMkLst>
            <pc:docMk/>
            <pc:sldMk cId="1231956484" sldId="639"/>
            <ac:inkMk id="12" creationId="{DF035326-0889-45C3-B25D-1449B0201448}"/>
          </ac:inkMkLst>
        </pc:inkChg>
        <pc:inkChg chg="add">
          <ac:chgData name="Thotakura, Ashok" userId="8def16fa-05a4-42f6-9097-35114c55c601" providerId="ADAL" clId="{8704C1DE-0D16-47A5-8CAE-92B3EE058A93}" dt="2021-06-09T11:05:55.769" v="362" actId="9405"/>
          <ac:inkMkLst>
            <pc:docMk/>
            <pc:sldMk cId="1231956484" sldId="639"/>
            <ac:inkMk id="13" creationId="{3397C388-F9D7-4F28-950C-DE6E9059B693}"/>
          </ac:inkMkLst>
        </pc:inkChg>
        <pc:inkChg chg="add">
          <ac:chgData name="Thotakura, Ashok" userId="8def16fa-05a4-42f6-9097-35114c55c601" providerId="ADAL" clId="{8704C1DE-0D16-47A5-8CAE-92B3EE058A93}" dt="2021-06-09T11:05:59.119" v="363" actId="9405"/>
          <ac:inkMkLst>
            <pc:docMk/>
            <pc:sldMk cId="1231956484" sldId="639"/>
            <ac:inkMk id="14" creationId="{22F5285D-2B54-4294-81AE-538352C718C0}"/>
          </ac:inkMkLst>
        </pc:inkChg>
        <pc:inkChg chg="add">
          <ac:chgData name="Thotakura, Ashok" userId="8def16fa-05a4-42f6-9097-35114c55c601" providerId="ADAL" clId="{8704C1DE-0D16-47A5-8CAE-92B3EE058A93}" dt="2021-06-09T11:06:03.449" v="364" actId="9405"/>
          <ac:inkMkLst>
            <pc:docMk/>
            <pc:sldMk cId="1231956484" sldId="639"/>
            <ac:inkMk id="15" creationId="{84D7D373-FB9D-4C00-A70C-D3FCD6EEFD53}"/>
          </ac:inkMkLst>
        </pc:inkChg>
        <pc:inkChg chg="del">
          <ac:chgData name="Thotakura, Ashok" userId="8def16fa-05a4-42f6-9097-35114c55c601" providerId="ADAL" clId="{8704C1DE-0D16-47A5-8CAE-92B3EE058A93}" dt="2021-06-09T11:04:23.551" v="355" actId="478"/>
          <ac:inkMkLst>
            <pc:docMk/>
            <pc:sldMk cId="1231956484" sldId="639"/>
            <ac:inkMk id="29" creationId="{2F253A94-F38F-4F94-94F0-B90A60F40214}"/>
          </ac:inkMkLst>
        </pc:inkChg>
        <pc:inkChg chg="del">
          <ac:chgData name="Thotakura, Ashok" userId="8def16fa-05a4-42f6-9097-35114c55c601" providerId="ADAL" clId="{8704C1DE-0D16-47A5-8CAE-92B3EE058A93}" dt="2021-06-09T11:04:23.551" v="355" actId="478"/>
          <ac:inkMkLst>
            <pc:docMk/>
            <pc:sldMk cId="1231956484" sldId="639"/>
            <ac:inkMk id="30" creationId="{EB5966B8-7774-48ED-954D-61089F69EBB4}"/>
          </ac:inkMkLst>
        </pc:inkChg>
      </pc:sldChg>
      <pc:sldChg chg="del">
        <pc:chgData name="Thotakura, Ashok" userId="8def16fa-05a4-42f6-9097-35114c55c601" providerId="ADAL" clId="{8704C1DE-0D16-47A5-8CAE-92B3EE058A93}" dt="2021-06-14T08:16:43.736" v="3368" actId="47"/>
        <pc:sldMkLst>
          <pc:docMk/>
          <pc:sldMk cId="311541567" sldId="640"/>
        </pc:sldMkLst>
      </pc:sldChg>
      <pc:sldChg chg="modSp del">
        <pc:chgData name="Thotakura, Ashok" userId="8def16fa-05a4-42f6-9097-35114c55c601" providerId="ADAL" clId="{8704C1DE-0D16-47A5-8CAE-92B3EE058A93}" dt="2021-06-14T09:09:19.715" v="3758" actId="47"/>
        <pc:sldMkLst>
          <pc:docMk/>
          <pc:sldMk cId="1207151774" sldId="641"/>
        </pc:sldMkLst>
        <pc:graphicFrameChg chg="modGraphic">
          <ac:chgData name="Thotakura, Ashok" userId="8def16fa-05a4-42f6-9097-35114c55c601" providerId="ADAL" clId="{8704C1DE-0D16-47A5-8CAE-92B3EE058A93}" dt="2021-06-03T10:52:34.345" v="48" actId="20577"/>
          <ac:graphicFrameMkLst>
            <pc:docMk/>
            <pc:sldMk cId="1207151774" sldId="641"/>
            <ac:graphicFrameMk id="8" creationId="{00000000-0000-0000-0000-000000000000}"/>
          </ac:graphicFrameMkLst>
        </pc:graphicFrameChg>
      </pc:sldChg>
      <pc:sldChg chg="ord">
        <pc:chgData name="Thotakura, Ashok" userId="8def16fa-05a4-42f6-9097-35114c55c601" providerId="ADAL" clId="{8704C1DE-0D16-47A5-8CAE-92B3EE058A93}" dt="2021-06-14T09:18:18.940" v="3886"/>
        <pc:sldMkLst>
          <pc:docMk/>
          <pc:sldMk cId="2324831811" sldId="642"/>
        </pc:sldMkLst>
      </pc:sldChg>
      <pc:sldChg chg="ord">
        <pc:chgData name="Thotakura, Ashok" userId="8def16fa-05a4-42f6-9097-35114c55c601" providerId="ADAL" clId="{8704C1DE-0D16-47A5-8CAE-92B3EE058A93}" dt="2021-06-14T10:01:55.322" v="4014"/>
        <pc:sldMkLst>
          <pc:docMk/>
          <pc:sldMk cId="4286428914" sldId="643"/>
        </pc:sldMkLst>
      </pc:sldChg>
      <pc:sldChg chg="modSp add del mod ord">
        <pc:chgData name="Thotakura, Ashok" userId="8def16fa-05a4-42f6-9097-35114c55c601" providerId="ADAL" clId="{8704C1DE-0D16-47A5-8CAE-92B3EE058A93}" dt="2021-06-14T12:07:57.730" v="4203" actId="20577"/>
        <pc:sldMkLst>
          <pc:docMk/>
          <pc:sldMk cId="3783079273" sldId="650"/>
        </pc:sldMkLst>
        <pc:spChg chg="mod">
          <ac:chgData name="Thotakura, Ashok" userId="8def16fa-05a4-42f6-9097-35114c55c601" providerId="ADAL" clId="{8704C1DE-0D16-47A5-8CAE-92B3EE058A93}" dt="2021-06-14T10:01:28.239" v="4012" actId="5793"/>
          <ac:spMkLst>
            <pc:docMk/>
            <pc:sldMk cId="3783079273" sldId="650"/>
            <ac:spMk id="2" creationId="{00000000-0000-0000-0000-000000000000}"/>
          </ac:spMkLst>
        </pc:spChg>
        <pc:graphicFrameChg chg="mod modGraphic">
          <ac:chgData name="Thotakura, Ashok" userId="8def16fa-05a4-42f6-9097-35114c55c601" providerId="ADAL" clId="{8704C1DE-0D16-47A5-8CAE-92B3EE058A93}" dt="2021-06-14T12:07:57.730" v="4203" actId="20577"/>
          <ac:graphicFrameMkLst>
            <pc:docMk/>
            <pc:sldMk cId="3783079273" sldId="650"/>
            <ac:graphicFrameMk id="5" creationId="{90CCA062-A7F0-4C93-A28E-71B91C36E2E6}"/>
          </ac:graphicFrameMkLst>
        </pc:graphicFrameChg>
      </pc:sldChg>
      <pc:sldChg chg="delSp modSp mod ord">
        <pc:chgData name="Thotakura, Ashok" userId="8def16fa-05a4-42f6-9097-35114c55c601" providerId="ADAL" clId="{8704C1DE-0D16-47A5-8CAE-92B3EE058A93}" dt="2021-06-14T10:37:49.645" v="4130"/>
        <pc:sldMkLst>
          <pc:docMk/>
          <pc:sldMk cId="4267676092" sldId="653"/>
        </pc:sldMkLst>
        <pc:spChg chg="del mod">
          <ac:chgData name="Thotakura, Ashok" userId="8def16fa-05a4-42f6-9097-35114c55c601" providerId="ADAL" clId="{8704C1DE-0D16-47A5-8CAE-92B3EE058A93}" dt="2021-06-11T12:57:27.075" v="2523" actId="478"/>
          <ac:spMkLst>
            <pc:docMk/>
            <pc:sldMk cId="4267676092" sldId="653"/>
            <ac:spMk id="13" creationId="{DC998C0D-D063-47CC-AAE2-B51820FAD883}"/>
          </ac:spMkLst>
        </pc:spChg>
        <pc:spChg chg="del">
          <ac:chgData name="Thotakura, Ashok" userId="8def16fa-05a4-42f6-9097-35114c55c601" providerId="ADAL" clId="{8704C1DE-0D16-47A5-8CAE-92B3EE058A93}" dt="2021-06-11T12:57:27.075" v="2523" actId="478"/>
          <ac:spMkLst>
            <pc:docMk/>
            <pc:sldMk cId="4267676092" sldId="653"/>
            <ac:spMk id="15" creationId="{C9333419-1ADE-4F28-A85C-E143E0607DBA}"/>
          </ac:spMkLst>
        </pc:spChg>
        <pc:spChg chg="del">
          <ac:chgData name="Thotakura, Ashok" userId="8def16fa-05a4-42f6-9097-35114c55c601" providerId="ADAL" clId="{8704C1DE-0D16-47A5-8CAE-92B3EE058A93}" dt="2021-06-11T12:57:22.109" v="2522" actId="478"/>
          <ac:spMkLst>
            <pc:docMk/>
            <pc:sldMk cId="4267676092" sldId="653"/>
            <ac:spMk id="16" creationId="{8C33FF0A-EDC6-4F02-A52C-626646113D79}"/>
          </ac:spMkLst>
        </pc:spChg>
        <pc:spChg chg="del mod">
          <ac:chgData name="Thotakura, Ashok" userId="8def16fa-05a4-42f6-9097-35114c55c601" providerId="ADAL" clId="{8704C1DE-0D16-47A5-8CAE-92B3EE058A93}" dt="2021-06-11T12:57:27.075" v="2523" actId="478"/>
          <ac:spMkLst>
            <pc:docMk/>
            <pc:sldMk cId="4267676092" sldId="653"/>
            <ac:spMk id="17" creationId="{B56D3D8D-66E2-403F-9DF7-B7E25E6EFCDA}"/>
          </ac:spMkLst>
        </pc:spChg>
        <pc:spChg chg="del">
          <ac:chgData name="Thotakura, Ashok" userId="8def16fa-05a4-42f6-9097-35114c55c601" providerId="ADAL" clId="{8704C1DE-0D16-47A5-8CAE-92B3EE058A93}" dt="2021-06-11T12:57:22.109" v="2522" actId="478"/>
          <ac:spMkLst>
            <pc:docMk/>
            <pc:sldMk cId="4267676092" sldId="653"/>
            <ac:spMk id="20" creationId="{E9EF5B7C-8F40-4215-A025-7A211C17464E}"/>
          </ac:spMkLst>
        </pc:spChg>
        <pc:spChg chg="del">
          <ac:chgData name="Thotakura, Ashok" userId="8def16fa-05a4-42f6-9097-35114c55c601" providerId="ADAL" clId="{8704C1DE-0D16-47A5-8CAE-92B3EE058A93}" dt="2021-06-11T12:57:22.109" v="2522" actId="478"/>
          <ac:spMkLst>
            <pc:docMk/>
            <pc:sldMk cId="4267676092" sldId="653"/>
            <ac:spMk id="22" creationId="{92369CFD-B456-43F3-97B3-47E1CB095C19}"/>
          </ac:spMkLst>
        </pc:spChg>
      </pc:sldChg>
      <pc:sldChg chg="ord">
        <pc:chgData name="Thotakura, Ashok" userId="8def16fa-05a4-42f6-9097-35114c55c601" providerId="ADAL" clId="{8704C1DE-0D16-47A5-8CAE-92B3EE058A93}" dt="2021-06-14T10:01:55.322" v="4014"/>
        <pc:sldMkLst>
          <pc:docMk/>
          <pc:sldMk cId="1369925577" sldId="654"/>
        </pc:sldMkLst>
      </pc:sldChg>
      <pc:sldChg chg="ord">
        <pc:chgData name="Thotakura, Ashok" userId="8def16fa-05a4-42f6-9097-35114c55c601" providerId="ADAL" clId="{8704C1DE-0D16-47A5-8CAE-92B3EE058A93}" dt="2021-06-14T09:19:35.756" v="3896"/>
        <pc:sldMkLst>
          <pc:docMk/>
          <pc:sldMk cId="2597640439" sldId="656"/>
        </pc:sldMkLst>
      </pc:sldChg>
      <pc:sldChg chg="ord">
        <pc:chgData name="Thotakura, Ashok" userId="8def16fa-05a4-42f6-9097-35114c55c601" providerId="ADAL" clId="{8704C1DE-0D16-47A5-8CAE-92B3EE058A93}" dt="2021-06-14T10:01:55.322" v="4014"/>
        <pc:sldMkLst>
          <pc:docMk/>
          <pc:sldMk cId="3542795391" sldId="657"/>
        </pc:sldMkLst>
      </pc:sldChg>
      <pc:sldChg chg="ord">
        <pc:chgData name="Thotakura, Ashok" userId="8def16fa-05a4-42f6-9097-35114c55c601" providerId="ADAL" clId="{8704C1DE-0D16-47A5-8CAE-92B3EE058A93}" dt="2021-06-14T09:19:01.965" v="3892"/>
        <pc:sldMkLst>
          <pc:docMk/>
          <pc:sldMk cId="1559625263" sldId="659"/>
        </pc:sldMkLst>
      </pc:sldChg>
      <pc:sldChg chg="del">
        <pc:chgData name="Thotakura, Ashok" userId="8def16fa-05a4-42f6-9097-35114c55c601" providerId="ADAL" clId="{8704C1DE-0D16-47A5-8CAE-92B3EE058A93}" dt="2021-06-14T08:03:07.835" v="3209" actId="47"/>
        <pc:sldMkLst>
          <pc:docMk/>
          <pc:sldMk cId="1623098683" sldId="661"/>
        </pc:sldMkLst>
      </pc:sldChg>
      <pc:sldChg chg="ord">
        <pc:chgData name="Thotakura, Ashok" userId="8def16fa-05a4-42f6-9097-35114c55c601" providerId="ADAL" clId="{8704C1DE-0D16-47A5-8CAE-92B3EE058A93}" dt="2021-06-14T10:01:55.322" v="4014"/>
        <pc:sldMkLst>
          <pc:docMk/>
          <pc:sldMk cId="2842050329" sldId="662"/>
        </pc:sldMkLst>
      </pc:sldChg>
      <pc:sldChg chg="ord">
        <pc:chgData name="Thotakura, Ashok" userId="8def16fa-05a4-42f6-9097-35114c55c601" providerId="ADAL" clId="{8704C1DE-0D16-47A5-8CAE-92B3EE058A93}" dt="2021-06-14T10:01:55.322" v="4014"/>
        <pc:sldMkLst>
          <pc:docMk/>
          <pc:sldMk cId="2729071175" sldId="663"/>
        </pc:sldMkLst>
      </pc:sldChg>
      <pc:sldChg chg="ord">
        <pc:chgData name="Thotakura, Ashok" userId="8def16fa-05a4-42f6-9097-35114c55c601" providerId="ADAL" clId="{8704C1DE-0D16-47A5-8CAE-92B3EE058A93}" dt="2021-06-14T09:18:23.153" v="3888"/>
        <pc:sldMkLst>
          <pc:docMk/>
          <pc:sldMk cId="3999089336" sldId="666"/>
        </pc:sldMkLst>
      </pc:sldChg>
      <pc:sldChg chg="ord">
        <pc:chgData name="Thotakura, Ashok" userId="8def16fa-05a4-42f6-9097-35114c55c601" providerId="ADAL" clId="{8704C1DE-0D16-47A5-8CAE-92B3EE058A93}" dt="2021-06-14T09:18:18.940" v="3886"/>
        <pc:sldMkLst>
          <pc:docMk/>
          <pc:sldMk cId="3821610941" sldId="667"/>
        </pc:sldMkLst>
      </pc:sldChg>
      <pc:sldChg chg="del">
        <pc:chgData name="Thotakura, Ashok" userId="8def16fa-05a4-42f6-9097-35114c55c601" providerId="ADAL" clId="{8704C1DE-0D16-47A5-8CAE-92B3EE058A93}" dt="2021-06-09T11:10:38.608" v="376" actId="47"/>
        <pc:sldMkLst>
          <pc:docMk/>
          <pc:sldMk cId="204061167" sldId="668"/>
        </pc:sldMkLst>
      </pc:sldChg>
      <pc:sldChg chg="del">
        <pc:chgData name="Thotakura, Ashok" userId="8def16fa-05a4-42f6-9097-35114c55c601" providerId="ADAL" clId="{8704C1DE-0D16-47A5-8CAE-92B3EE058A93}" dt="2021-06-14T08:16:59.191" v="3370" actId="47"/>
        <pc:sldMkLst>
          <pc:docMk/>
          <pc:sldMk cId="3443385220" sldId="670"/>
        </pc:sldMkLst>
      </pc:sldChg>
      <pc:sldChg chg="addSp delSp modSp add del mod">
        <pc:chgData name="Thotakura, Ashok" userId="8def16fa-05a4-42f6-9097-35114c55c601" providerId="ADAL" clId="{8704C1DE-0D16-47A5-8CAE-92B3EE058A93}" dt="2021-06-14T09:08:02.192" v="3703" actId="47"/>
        <pc:sldMkLst>
          <pc:docMk/>
          <pc:sldMk cId="3430045304" sldId="672"/>
        </pc:sldMkLst>
        <pc:spChg chg="mod">
          <ac:chgData name="Thotakura, Ashok" userId="8def16fa-05a4-42f6-9097-35114c55c601" providerId="ADAL" clId="{8704C1DE-0D16-47A5-8CAE-92B3EE058A93}" dt="2021-06-09T11:11:06.566" v="396" actId="20577"/>
          <ac:spMkLst>
            <pc:docMk/>
            <pc:sldMk cId="3430045304" sldId="672"/>
            <ac:spMk id="25" creationId="{72A4E72F-2BB0-4315-B27B-15118D511E55}"/>
          </ac:spMkLst>
        </pc:spChg>
        <pc:picChg chg="add del mod">
          <ac:chgData name="Thotakura, Ashok" userId="8def16fa-05a4-42f6-9097-35114c55c601" providerId="ADAL" clId="{8704C1DE-0D16-47A5-8CAE-92B3EE058A93}" dt="2021-06-09T13:51:10.931" v="1883" actId="478"/>
          <ac:picMkLst>
            <pc:docMk/>
            <pc:sldMk cId="3430045304" sldId="672"/>
            <ac:picMk id="2" creationId="{C876C18E-E39B-420D-A7D6-A6235F969D5F}"/>
          </ac:picMkLst>
        </pc:picChg>
        <pc:picChg chg="add">
          <ac:chgData name="Thotakura, Ashok" userId="8def16fa-05a4-42f6-9097-35114c55c601" providerId="ADAL" clId="{8704C1DE-0D16-47A5-8CAE-92B3EE058A93}" dt="2021-06-09T13:51:11.578" v="1884"/>
          <ac:picMkLst>
            <pc:docMk/>
            <pc:sldMk cId="3430045304" sldId="672"/>
            <ac:picMk id="3" creationId="{FCA5EE39-2564-4ABC-A218-7120D03C8822}"/>
          </ac:picMkLst>
        </pc:picChg>
        <pc:picChg chg="del">
          <ac:chgData name="Thotakura, Ashok" userId="8def16fa-05a4-42f6-9097-35114c55c601" providerId="ADAL" clId="{8704C1DE-0D16-47A5-8CAE-92B3EE058A93}" dt="2021-06-09T11:10:56.184" v="378" actId="478"/>
          <ac:picMkLst>
            <pc:docMk/>
            <pc:sldMk cId="3430045304" sldId="672"/>
            <ac:picMk id="5" creationId="{0D0E3EAA-77AB-475B-A9D5-ED10B596ABC2}"/>
          </ac:picMkLst>
        </pc:pic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8" creationId="{2B86C6F8-FB8F-47A3-B27B-B61009DBD3EB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9" creationId="{4F7EA3E1-11AC-49E8-8C79-34D19F376DB5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10" creationId="{504CD81D-F6FE-452F-BE34-F3A4CBA03DE9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11" creationId="{1044F04B-BF1D-4303-9D3B-393E0918DE69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12" creationId="{DF035326-0889-45C3-B25D-1449B0201448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13" creationId="{3397C388-F9D7-4F28-950C-DE6E9059B693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14" creationId="{22F5285D-2B54-4294-81AE-538352C718C0}"/>
          </ac:inkMkLst>
        </pc:inkChg>
        <pc:inkChg chg="del">
          <ac:chgData name="Thotakura, Ashok" userId="8def16fa-05a4-42f6-9097-35114c55c601" providerId="ADAL" clId="{8704C1DE-0D16-47A5-8CAE-92B3EE058A93}" dt="2021-06-09T11:10:59.921" v="379" actId="478"/>
          <ac:inkMkLst>
            <pc:docMk/>
            <pc:sldMk cId="3430045304" sldId="672"/>
            <ac:inkMk id="15" creationId="{84D7D373-FB9D-4C00-A70C-D3FCD6EEFD53}"/>
          </ac:inkMkLst>
        </pc:inkChg>
      </pc:sldChg>
      <pc:sldChg chg="addSp delSp modSp add del mod">
        <pc:chgData name="Thotakura, Ashok" userId="8def16fa-05a4-42f6-9097-35114c55c601" providerId="ADAL" clId="{8704C1DE-0D16-47A5-8CAE-92B3EE058A93}" dt="2021-06-09T13:34:30.255" v="1876" actId="47"/>
        <pc:sldMkLst>
          <pc:docMk/>
          <pc:sldMk cId="2680828551" sldId="673"/>
        </pc:sldMkLst>
        <pc:spChg chg="add del mod">
          <ac:chgData name="Thotakura, Ashok" userId="8def16fa-05a4-42f6-9097-35114c55c601" providerId="ADAL" clId="{8704C1DE-0D16-47A5-8CAE-92B3EE058A93}" dt="2021-06-09T11:20:32.632" v="416" actId="478"/>
          <ac:spMkLst>
            <pc:docMk/>
            <pc:sldMk cId="2680828551" sldId="673"/>
            <ac:spMk id="9" creationId="{11599E61-DD0B-4DDC-AD33-555FB62AA17F}"/>
          </ac:spMkLst>
        </pc:spChg>
        <pc:spChg chg="add del mod">
          <ac:chgData name="Thotakura, Ashok" userId="8def16fa-05a4-42f6-9097-35114c55c601" providerId="ADAL" clId="{8704C1DE-0D16-47A5-8CAE-92B3EE058A93}" dt="2021-06-09T11:20:28.622" v="415" actId="478"/>
          <ac:spMkLst>
            <pc:docMk/>
            <pc:sldMk cId="2680828551" sldId="673"/>
            <ac:spMk id="10" creationId="{C6557BA4-7673-4AB4-8C22-1E52D3EBC864}"/>
          </ac:spMkLst>
        </pc:spChg>
        <pc:spChg chg="add del mod">
          <ac:chgData name="Thotakura, Ashok" userId="8def16fa-05a4-42f6-9097-35114c55c601" providerId="ADAL" clId="{8704C1DE-0D16-47A5-8CAE-92B3EE058A93}" dt="2021-06-09T11:20:32.632" v="416" actId="478"/>
          <ac:spMkLst>
            <pc:docMk/>
            <pc:sldMk cId="2680828551" sldId="673"/>
            <ac:spMk id="11" creationId="{30C2F947-3556-4B4D-BCDE-C36CA0EDA96F}"/>
          </ac:spMkLst>
        </pc:spChg>
        <pc:spChg chg="add del mod">
          <ac:chgData name="Thotakura, Ashok" userId="8def16fa-05a4-42f6-9097-35114c55c601" providerId="ADAL" clId="{8704C1DE-0D16-47A5-8CAE-92B3EE058A93}" dt="2021-06-09T11:20:32.632" v="416" actId="478"/>
          <ac:spMkLst>
            <pc:docMk/>
            <pc:sldMk cId="2680828551" sldId="673"/>
            <ac:spMk id="12" creationId="{56838BBD-04F4-4016-8A5A-FF3E3738DDA1}"/>
          </ac:spMkLst>
        </pc:spChg>
        <pc:spChg chg="add del mod">
          <ac:chgData name="Thotakura, Ashok" userId="8def16fa-05a4-42f6-9097-35114c55c601" providerId="ADAL" clId="{8704C1DE-0D16-47A5-8CAE-92B3EE058A93}" dt="2021-06-09T11:20:32.632" v="416" actId="478"/>
          <ac:spMkLst>
            <pc:docMk/>
            <pc:sldMk cId="2680828551" sldId="673"/>
            <ac:spMk id="13" creationId="{44CF1AB1-FD62-4A82-8395-BB282621C773}"/>
          </ac:spMkLst>
        </pc:spChg>
        <pc:spChg chg="add del mod">
          <ac:chgData name="Thotakura, Ashok" userId="8def16fa-05a4-42f6-9097-35114c55c601" providerId="ADAL" clId="{8704C1DE-0D16-47A5-8CAE-92B3EE058A93}" dt="2021-06-09T11:20:28.622" v="415" actId="478"/>
          <ac:spMkLst>
            <pc:docMk/>
            <pc:sldMk cId="2680828551" sldId="673"/>
            <ac:spMk id="14" creationId="{699F8E9B-18C4-40B8-936E-8B1562411FDC}"/>
          </ac:spMkLst>
        </pc:spChg>
        <pc:spChg chg="add del mod">
          <ac:chgData name="Thotakura, Ashok" userId="8def16fa-05a4-42f6-9097-35114c55c601" providerId="ADAL" clId="{8704C1DE-0D16-47A5-8CAE-92B3EE058A93}" dt="2021-06-09T11:20:28.622" v="415" actId="478"/>
          <ac:spMkLst>
            <pc:docMk/>
            <pc:sldMk cId="2680828551" sldId="673"/>
            <ac:spMk id="16" creationId="{68BE7F87-07B3-478C-BB28-BAAFF40E7600}"/>
          </ac:spMkLst>
        </pc:spChg>
        <pc:spChg chg="add del mod">
          <ac:chgData name="Thotakura, Ashok" userId="8def16fa-05a4-42f6-9097-35114c55c601" providerId="ADAL" clId="{8704C1DE-0D16-47A5-8CAE-92B3EE058A93}" dt="2021-06-09T11:20:28.622" v="415" actId="478"/>
          <ac:spMkLst>
            <pc:docMk/>
            <pc:sldMk cId="2680828551" sldId="673"/>
            <ac:spMk id="18" creationId="{FAD2E519-2CD1-4D2B-8CC5-0700752D289A}"/>
          </ac:spMkLst>
        </pc:spChg>
        <pc:spChg chg="add mod">
          <ac:chgData name="Thotakura, Ashok" userId="8def16fa-05a4-42f6-9097-35114c55c601" providerId="ADAL" clId="{8704C1DE-0D16-47A5-8CAE-92B3EE058A93}" dt="2021-06-09T11:31:42.387" v="565" actId="20577"/>
          <ac:spMkLst>
            <pc:docMk/>
            <pc:sldMk cId="2680828551" sldId="673"/>
            <ac:spMk id="21" creationId="{781C9BF2-8700-4E03-A465-1B0342647C6B}"/>
          </ac:spMkLst>
        </pc:spChg>
        <pc:spChg chg="mod">
          <ac:chgData name="Thotakura, Ashok" userId="8def16fa-05a4-42f6-9097-35114c55c601" providerId="ADAL" clId="{8704C1DE-0D16-47A5-8CAE-92B3EE058A93}" dt="2021-06-09T11:31:17.677" v="560" actId="20577"/>
          <ac:spMkLst>
            <pc:docMk/>
            <pc:sldMk cId="2680828551" sldId="673"/>
            <ac:spMk id="25" creationId="{72A4E72F-2BB0-4315-B27B-15118D511E55}"/>
          </ac:spMkLst>
        </pc:spChg>
        <pc:graphicFrameChg chg="add del mod">
          <ac:chgData name="Thotakura, Ashok" userId="8def16fa-05a4-42f6-9097-35114c55c601" providerId="ADAL" clId="{8704C1DE-0D16-47A5-8CAE-92B3EE058A93}" dt="2021-06-09T11:31:23.796" v="561" actId="478"/>
          <ac:graphicFrameMkLst>
            <pc:docMk/>
            <pc:sldMk cId="2680828551" sldId="673"/>
            <ac:graphicFrameMk id="20" creationId="{7C366AB5-7FE9-4D00-A44A-81FDB8046F21}"/>
          </ac:graphicFrameMkLst>
        </pc:graphicFrameChg>
        <pc:picChg chg="del">
          <ac:chgData name="Thotakura, Ashok" userId="8def16fa-05a4-42f6-9097-35114c55c601" providerId="ADAL" clId="{8704C1DE-0D16-47A5-8CAE-92B3EE058A93}" dt="2021-06-09T11:17:08.001" v="413" actId="478"/>
          <ac:picMkLst>
            <pc:docMk/>
            <pc:sldMk cId="2680828551" sldId="673"/>
            <ac:picMk id="2" creationId="{C876C18E-E39B-420D-A7D6-A6235F969D5F}"/>
          </ac:picMkLst>
        </pc:picChg>
        <pc:picChg chg="add del mod">
          <ac:chgData name="Thotakura, Ashok" userId="8def16fa-05a4-42f6-9097-35114c55c601" providerId="ADAL" clId="{8704C1DE-0D16-47A5-8CAE-92B3EE058A93}" dt="2021-06-09T11:20:32.632" v="416" actId="478"/>
          <ac:picMkLst>
            <pc:docMk/>
            <pc:sldMk cId="2680828551" sldId="673"/>
            <ac:picMk id="4" creationId="{E7A635EC-DC1D-4053-9BB5-61888E3A4E13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5" creationId="{97C5C78F-4A79-4435-A527-C59EA9484CBB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6" creationId="{13C334D0-6DA2-4AB3-B6B1-DE954E496A2A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7" creationId="{BB15E7F3-5535-4C63-82EE-DA7623378D41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8" creationId="{8CFFA3CC-AA84-437B-9607-F993B71F7910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15" creationId="{8EE60CC9-E1DA-4868-B2FE-7512634BC10C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17" creationId="{997C44D9-DC17-4362-BB0C-14B513DB272E}"/>
          </ac:picMkLst>
        </pc:picChg>
        <pc:picChg chg="add del mod">
          <ac:chgData name="Thotakura, Ashok" userId="8def16fa-05a4-42f6-9097-35114c55c601" providerId="ADAL" clId="{8704C1DE-0D16-47A5-8CAE-92B3EE058A93}" dt="2021-06-09T11:20:28.622" v="415" actId="478"/>
          <ac:picMkLst>
            <pc:docMk/>
            <pc:sldMk cId="2680828551" sldId="673"/>
            <ac:picMk id="19" creationId="{91DC0F4D-9DBF-4A5D-9956-49FDF5AAE832}"/>
          </ac:picMkLst>
        </pc:picChg>
      </pc:sldChg>
      <pc:sldChg chg="ord">
        <pc:chgData name="Thotakura, Ashok" userId="8def16fa-05a4-42f6-9097-35114c55c601" providerId="ADAL" clId="{8704C1DE-0D16-47A5-8CAE-92B3EE058A93}" dt="2021-06-11T11:30:29.846" v="2402"/>
        <pc:sldMkLst>
          <pc:docMk/>
          <pc:sldMk cId="1836145309" sldId="674"/>
        </pc:sldMkLst>
      </pc:sldChg>
      <pc:sldChg chg="addSp delSp modSp add mod ord">
        <pc:chgData name="Thotakura, Ashok" userId="8def16fa-05a4-42f6-9097-35114c55c601" providerId="ADAL" clId="{8704C1DE-0D16-47A5-8CAE-92B3EE058A93}" dt="2021-06-14T09:19:29.484" v="3894"/>
        <pc:sldMkLst>
          <pc:docMk/>
          <pc:sldMk cId="3797066788" sldId="675"/>
        </pc:sldMkLst>
        <pc:spChg chg="mod">
          <ac:chgData name="Thotakura, Ashok" userId="8def16fa-05a4-42f6-9097-35114c55c601" providerId="ADAL" clId="{8704C1DE-0D16-47A5-8CAE-92B3EE058A93}" dt="2021-06-14T09:09:05.109" v="3753" actId="20577"/>
          <ac:spMkLst>
            <pc:docMk/>
            <pc:sldMk cId="3797066788" sldId="675"/>
            <ac:spMk id="25" creationId="{72A4E72F-2BB0-4315-B27B-15118D511E55}"/>
          </ac:spMkLst>
        </pc:spChg>
        <pc:graphicFrameChg chg="add del mod">
          <ac:chgData name="Thotakura, Ashok" userId="8def16fa-05a4-42f6-9097-35114c55c601" providerId="ADAL" clId="{8704C1DE-0D16-47A5-8CAE-92B3EE058A93}" dt="2021-06-10T09:36:36.784" v="1896" actId="478"/>
          <ac:graphicFrameMkLst>
            <pc:docMk/>
            <pc:sldMk cId="3797066788" sldId="675"/>
            <ac:graphicFrameMk id="2" creationId="{8AEB3C7A-D580-4FA3-B4E9-CAB93100ABFB}"/>
          </ac:graphicFrameMkLst>
        </pc:graphicFrameChg>
        <pc:graphicFrameChg chg="add del mod">
          <ac:chgData name="Thotakura, Ashok" userId="8def16fa-05a4-42f6-9097-35114c55c601" providerId="ADAL" clId="{8704C1DE-0D16-47A5-8CAE-92B3EE058A93}" dt="2021-06-09T11:23:21.321" v="429"/>
          <ac:graphicFrameMkLst>
            <pc:docMk/>
            <pc:sldMk cId="3797066788" sldId="675"/>
            <ac:graphicFrameMk id="4" creationId="{F8900540-02F5-4591-9CEA-BB57E1128B8A}"/>
          </ac:graphicFrameMkLst>
        </pc:graphicFrameChg>
        <pc:graphicFrameChg chg="add mod">
          <ac:chgData name="Thotakura, Ashok" userId="8def16fa-05a4-42f6-9097-35114c55c601" providerId="ADAL" clId="{8704C1DE-0D16-47A5-8CAE-92B3EE058A93}" dt="2021-06-14T09:09:13.459" v="3756" actId="1076"/>
          <ac:graphicFrameMkLst>
            <pc:docMk/>
            <pc:sldMk cId="3797066788" sldId="675"/>
            <ac:graphicFrameMk id="6" creationId="{89D71FBD-35CD-4F82-B68A-45C0C41A5864}"/>
          </ac:graphicFrameMkLst>
        </pc:graphicFrameChg>
        <pc:graphicFrameChg chg="del mod">
          <ac:chgData name="Thotakura, Ashok" userId="8def16fa-05a4-42f6-9097-35114c55c601" providerId="ADAL" clId="{8704C1DE-0D16-47A5-8CAE-92B3EE058A93}" dt="2021-06-09T11:25:47.833" v="451" actId="478"/>
          <ac:graphicFrameMkLst>
            <pc:docMk/>
            <pc:sldMk cId="3797066788" sldId="675"/>
            <ac:graphicFrameMk id="20" creationId="{7C366AB5-7FE9-4D00-A44A-81FDB8046F21}"/>
          </ac:graphicFrameMkLst>
        </pc:graphicFrameChg>
      </pc:sldChg>
      <pc:sldChg chg="addSp delSp modSp add del mod">
        <pc:chgData name="Thotakura, Ashok" userId="8def16fa-05a4-42f6-9097-35114c55c601" providerId="ADAL" clId="{8704C1DE-0D16-47A5-8CAE-92B3EE058A93}" dt="2021-06-09T12:24:20.936" v="1290" actId="47"/>
        <pc:sldMkLst>
          <pc:docMk/>
          <pc:sldMk cId="1201970527" sldId="676"/>
        </pc:sldMkLst>
        <pc:spChg chg="add mod">
          <ac:chgData name="Thotakura, Ashok" userId="8def16fa-05a4-42f6-9097-35114c55c601" providerId="ADAL" clId="{8704C1DE-0D16-47A5-8CAE-92B3EE058A93}" dt="2021-06-09T11:43:57.745" v="575"/>
          <ac:spMkLst>
            <pc:docMk/>
            <pc:sldMk cId="1201970527" sldId="676"/>
            <ac:spMk id="23" creationId="{DA3F1863-A51C-4018-86F9-E77A3E8E3EB1}"/>
          </ac:spMkLst>
        </pc:spChg>
        <pc:spChg chg="add mod">
          <ac:chgData name="Thotakura, Ashok" userId="8def16fa-05a4-42f6-9097-35114c55c601" providerId="ADAL" clId="{8704C1DE-0D16-47A5-8CAE-92B3EE058A93}" dt="2021-06-09T11:44:14.190" v="582" actId="1076"/>
          <ac:spMkLst>
            <pc:docMk/>
            <pc:sldMk cId="1201970527" sldId="676"/>
            <ac:spMk id="24" creationId="{BAE98BD3-C49D-4359-ACFA-638892F41036}"/>
          </ac:spMkLst>
        </pc:spChg>
        <pc:spChg chg="add mod">
          <ac:chgData name="Thotakura, Ashok" userId="8def16fa-05a4-42f6-9097-35114c55c601" providerId="ADAL" clId="{8704C1DE-0D16-47A5-8CAE-92B3EE058A93}" dt="2021-06-09T11:44:55.582" v="586" actId="14100"/>
          <ac:spMkLst>
            <pc:docMk/>
            <pc:sldMk cId="1201970527" sldId="676"/>
            <ac:spMk id="26" creationId="{F4F20697-91B4-447B-9DF5-127D69B925E1}"/>
          </ac:spMkLst>
        </pc:spChg>
        <pc:graphicFrameChg chg="del mod">
          <ac:chgData name="Thotakura, Ashok" userId="8def16fa-05a4-42f6-9097-35114c55c601" providerId="ADAL" clId="{8704C1DE-0D16-47A5-8CAE-92B3EE058A93}" dt="2021-06-09T11:35:55.333" v="568" actId="478"/>
          <ac:graphicFrameMkLst>
            <pc:docMk/>
            <pc:sldMk cId="1201970527" sldId="676"/>
            <ac:graphicFrameMk id="2" creationId="{8AEB3C7A-D580-4FA3-B4E9-CAB93100ABFB}"/>
          </ac:graphicFrameMkLst>
        </pc:graphicFrameChg>
        <pc:graphicFrameChg chg="add mod">
          <ac:chgData name="Thotakura, Ashok" userId="8def16fa-05a4-42f6-9097-35114c55c601" providerId="ADAL" clId="{8704C1DE-0D16-47A5-8CAE-92B3EE058A93}" dt="2021-06-09T11:43:44.536" v="572"/>
          <ac:graphicFrameMkLst>
            <pc:docMk/>
            <pc:sldMk cId="1201970527" sldId="676"/>
            <ac:graphicFrameMk id="6" creationId="{CA153544-501A-4D9F-8973-AF9E4CBAEF9C}"/>
          </ac:graphicFrameMkLst>
        </pc:graphicFrameChg>
        <pc:picChg chg="add del mod">
          <ac:chgData name="Thotakura, Ashok" userId="8def16fa-05a4-42f6-9097-35114c55c601" providerId="ADAL" clId="{8704C1DE-0D16-47A5-8CAE-92B3EE058A93}" dt="2021-06-09T11:44:10.445" v="581" actId="478"/>
          <ac:picMkLst>
            <pc:docMk/>
            <pc:sldMk cId="1201970527" sldId="676"/>
            <ac:picMk id="7" creationId="{77B73C4A-A229-46F9-8059-6CB5A30AB400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8" creationId="{BBE6A452-32A2-4440-AACA-8FBB82DE4F39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9" creationId="{CE5303AF-C5D1-4F24-9110-37BA778C63F5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0" creationId="{31AF8DDF-ECD4-4E91-8B47-9FDFDDA6A00D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1" creationId="{0F542719-2FA3-4CC9-BD4D-51489FB3AE11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2" creationId="{2E64EE60-7B9A-4C15-A627-8D8E06AE40E8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3" creationId="{3FBCCDE0-70EE-4899-9A96-69CFF610D145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4" creationId="{0F908C3D-CA39-4EAD-A0EB-314D4AEC1592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5" creationId="{CCBED73B-D7A7-4D88-AEAE-E455E460447C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6" creationId="{1986E69E-A278-4CA8-9F45-2C6318C76F3B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7" creationId="{586BA89B-F502-4A35-90B1-F43A0A8237DA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8" creationId="{26CCADA6-084D-4679-9825-6D29EA392FF7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19" creationId="{05044943-4EE7-46E6-91C8-308373309443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20" creationId="{E0F877B8-1F60-4065-83F3-945B2B9554A7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21" creationId="{9DD62D52-B4E0-4197-BF67-BA808E17DD4B}"/>
          </ac:picMkLst>
        </pc:picChg>
        <pc:picChg chg="add mod">
          <ac:chgData name="Thotakura, Ashok" userId="8def16fa-05a4-42f6-9097-35114c55c601" providerId="ADAL" clId="{8704C1DE-0D16-47A5-8CAE-92B3EE058A93}" dt="2021-06-09T11:43:44.536" v="572"/>
          <ac:picMkLst>
            <pc:docMk/>
            <pc:sldMk cId="1201970527" sldId="676"/>
            <ac:picMk id="22" creationId="{ECCA4F72-837F-4F9C-90EA-3F38DCB6EC86}"/>
          </ac:picMkLst>
        </pc:picChg>
      </pc:sldChg>
      <pc:sldChg chg="delSp modSp add mod ord">
        <pc:chgData name="Thotakura, Ashok" userId="8def16fa-05a4-42f6-9097-35114c55c601" providerId="ADAL" clId="{8704C1DE-0D16-47A5-8CAE-92B3EE058A93}" dt="2021-06-11T11:39:10.681" v="2404"/>
        <pc:sldMkLst>
          <pc:docMk/>
          <pc:sldMk cId="2153067775" sldId="771"/>
        </pc:sldMkLst>
        <pc:spChg chg="mod">
          <ac:chgData name="Thotakura, Ashok" userId="8def16fa-05a4-42f6-9097-35114c55c601" providerId="ADAL" clId="{8704C1DE-0D16-47A5-8CAE-92B3EE058A93}" dt="2021-06-11T10:33:44.521" v="2021" actId="14100"/>
          <ac:spMkLst>
            <pc:docMk/>
            <pc:sldMk cId="2153067775" sldId="771"/>
            <ac:spMk id="3" creationId="{5CF52A8F-5168-4489-86F4-10C0DF212F13}"/>
          </ac:spMkLst>
        </pc:spChg>
        <pc:spChg chg="del">
          <ac:chgData name="Thotakura, Ashok" userId="8def16fa-05a4-42f6-9097-35114c55c601" providerId="ADAL" clId="{8704C1DE-0D16-47A5-8CAE-92B3EE058A93}" dt="2021-06-11T10:33:47.623" v="2022" actId="478"/>
          <ac:spMkLst>
            <pc:docMk/>
            <pc:sldMk cId="2153067775" sldId="771"/>
            <ac:spMk id="48" creationId="{C5E871F1-5F82-411E-B2CA-79A7D94BA2FD}"/>
          </ac:spMkLst>
        </pc:spChg>
      </pc:sldChg>
      <pc:sldChg chg="addSp delSp modSp add del mod">
        <pc:chgData name="Thotakura, Ashok" userId="8def16fa-05a4-42f6-9097-35114c55c601" providerId="ADAL" clId="{8704C1DE-0D16-47A5-8CAE-92B3EE058A93}" dt="2021-06-11T12:25:08.675" v="2495" actId="47"/>
        <pc:sldMkLst>
          <pc:docMk/>
          <pc:sldMk cId="519813619" sldId="775"/>
        </pc:sldMkLst>
        <pc:spChg chg="del">
          <ac:chgData name="Thotakura, Ashok" userId="8def16fa-05a4-42f6-9097-35114c55c601" providerId="ADAL" clId="{8704C1DE-0D16-47A5-8CAE-92B3EE058A93}" dt="2021-06-09T12:24:32.408" v="1291" actId="478"/>
          <ac:spMkLst>
            <pc:docMk/>
            <pc:sldMk cId="519813619" sldId="775"/>
            <ac:spMk id="5" creationId="{D729CC27-6679-47BA-8E82-24D781349F73}"/>
          </ac:spMkLst>
        </pc:spChg>
        <pc:spChg chg="add mod">
          <ac:chgData name="Thotakura, Ashok" userId="8def16fa-05a4-42f6-9097-35114c55c601" providerId="ADAL" clId="{8704C1DE-0D16-47A5-8CAE-92B3EE058A93}" dt="2021-06-11T08:59:04.152" v="1997" actId="14861"/>
          <ac:spMkLst>
            <pc:docMk/>
            <pc:sldMk cId="519813619" sldId="775"/>
            <ac:spMk id="58" creationId="{9474A9B0-7AB0-43A7-AB20-6B2767CA1CA7}"/>
          </ac:spMkLst>
        </pc:spChg>
        <pc:picChg chg="add mod">
          <ac:chgData name="Thotakura, Ashok" userId="8def16fa-05a4-42f6-9097-35114c55c601" providerId="ADAL" clId="{8704C1DE-0D16-47A5-8CAE-92B3EE058A93}" dt="2021-06-09T12:24:39.352" v="1295" actId="1076"/>
          <ac:picMkLst>
            <pc:docMk/>
            <pc:sldMk cId="519813619" sldId="775"/>
            <ac:picMk id="57" creationId="{644E17E9-FF30-47AD-A6CC-E8443B9BCB85}"/>
          </ac:picMkLst>
        </pc:picChg>
      </pc:sldChg>
      <pc:sldChg chg="addSp delSp modSp add del mod">
        <pc:chgData name="Thotakura, Ashok" userId="8def16fa-05a4-42f6-9097-35114c55c601" providerId="ADAL" clId="{8704C1DE-0D16-47A5-8CAE-92B3EE058A93}" dt="2021-06-11T09:03:26.010" v="2007" actId="47"/>
        <pc:sldMkLst>
          <pc:docMk/>
          <pc:sldMk cId="3588038984" sldId="776"/>
        </pc:sldMkLst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6" creationId="{A321230C-2577-4D68-813C-317069D3711E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7" creationId="{27E28F45-CEE3-4E21-88BD-1DBF432FA78F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8" creationId="{15FC2668-5EF5-45F1-B328-B1C233B65A4E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9" creationId="{C6B91AE8-241F-45DE-A4CD-788DCA8526D8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0" creationId="{98F98A91-7D05-4E01-8745-93DC90547D8D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1" creationId="{4424E209-D9F1-44B1-9369-7FC79EDD522C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2" creationId="{8CA23EC9-3E70-4C18-8F73-CD20AD344354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3" creationId="{56E495B4-0C2C-47D2-A836-1C1AE8A42AB7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4" creationId="{9BB2074C-A82E-43FC-B0E5-D573000AB90E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5" creationId="{06A616DA-4367-4E91-9034-FAC02D9B823F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6" creationId="{4A4AEF12-8622-4B05-B643-37EB37B8E3EC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7" creationId="{1A0592EA-EF7D-478A-AC9F-A15B83785003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8" creationId="{FCA79E89-CAD9-4AAB-B81B-F4B19F59813C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19" creationId="{A5DB76F6-79DC-4804-BFF7-E95B4BDFD4C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0" creationId="{E74CBF0A-1219-4935-99D6-0128A9E1A08B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1" creationId="{6A144AFC-7C91-4126-8CD4-6D578D25AA8B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2" creationId="{2BE1BA4A-FE90-4119-A4D1-4BC4C622A94C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3" creationId="{E48BFF34-386D-4B8C-8CF3-18C55AC3541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4" creationId="{50836754-48AE-436C-BB0A-6A6558C36132}"/>
          </ac:spMkLst>
        </pc:spChg>
        <pc:spChg chg="mod">
          <ac:chgData name="Thotakura, Ashok" userId="8def16fa-05a4-42f6-9097-35114c55c601" providerId="ADAL" clId="{8704C1DE-0D16-47A5-8CAE-92B3EE058A93}" dt="2021-06-09T11:46:15.344" v="592" actId="207"/>
          <ac:spMkLst>
            <pc:docMk/>
            <pc:sldMk cId="3588038984" sldId="776"/>
            <ac:spMk id="25" creationId="{72A4E72F-2BB0-4315-B27B-15118D511E55}"/>
          </ac:spMkLst>
        </pc:spChg>
        <pc:spChg chg="mod">
          <ac:chgData name="Thotakura, Ashok" userId="8def16fa-05a4-42f6-9097-35114c55c601" providerId="ADAL" clId="{8704C1DE-0D16-47A5-8CAE-92B3EE058A93}" dt="2021-06-11T08:57:25.928" v="1989" actId="1076"/>
          <ac:spMkLst>
            <pc:docMk/>
            <pc:sldMk cId="3588038984" sldId="776"/>
            <ac:spMk id="26" creationId="{D1773E8C-E660-47FB-AB42-C1D9A37016B0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7" creationId="{5932D0E7-103D-4D4D-855C-441356561FE7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8" creationId="{F3AFDFAC-CF50-4F45-92E1-47AF9F61F284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29" creationId="{BB791E19-8F25-47A9-8272-D07CCDF5AB90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0" creationId="{F746022C-27AD-4C8B-B5EF-1C2FBA8227BF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1" creationId="{C879B862-8CE4-4318-B4B0-6B41571FD5B1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2" creationId="{66BDA817-2236-466A-955A-BB3BEA0B6714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3" creationId="{90D9A307-2E80-4453-B97C-9AFA995CE021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4" creationId="{90095BD2-BDBE-40FA-AF47-B1BC8D8BB02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5" creationId="{16BEFAA5-7ECA-4B1B-A742-D5094574CEAF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6" creationId="{B05262F1-9584-43CE-B07D-FFA930C5E3A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7" creationId="{A92AE119-EA6A-4A09-A762-725E88F495D6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8" creationId="{393305B8-8D38-43CE-AB84-CEF30DA5AF54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39" creationId="{47E907C8-1B3C-4248-B8B8-3D72230F511B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0" creationId="{513967A9-64FA-43FC-AA45-46B8A2293859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1" creationId="{1F618657-B8CC-4434-BFC9-7DEE24822B23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2" creationId="{750F6635-F400-4828-A9C5-5D5F4B31D069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3" creationId="{E37F9A42-8DF0-41B6-9396-2E20B3F768F3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4" creationId="{4C76A30B-8261-4E34-8A0F-306220BF9E29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5" creationId="{22AC79F4-3ACD-4BEB-A04C-620665BA5065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6" creationId="{1E8BD261-426D-4D6D-8426-FEC3C59841E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7" creationId="{5538EF0E-B7E5-4C89-81A2-AC02E982F8C0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8" creationId="{5C356C9E-F0E5-4D4F-9F96-B5F53E7A39F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49" creationId="{4FA8921B-F57D-477A-9D4D-58AECD82FB1E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50" creationId="{E45E7740-E142-44B2-B7A1-0C6F2653E15A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51" creationId="{20240BE8-264D-49AE-AB4E-24040B5E5439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52" creationId="{AFE81DF6-8C75-4B8F-8770-F225997E010F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53" creationId="{6D084F4A-09F9-47BC-8B7D-5DF72DE274D4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54" creationId="{F56E2A72-BA3E-4893-9D29-A051BEDB6469}"/>
          </ac:spMkLst>
        </pc:spChg>
        <pc:spChg chg="mod">
          <ac:chgData name="Thotakura, Ashok" userId="8def16fa-05a4-42f6-9097-35114c55c601" providerId="ADAL" clId="{8704C1DE-0D16-47A5-8CAE-92B3EE058A93}" dt="2021-06-09T11:56:13.247" v="787" actId="18245"/>
          <ac:spMkLst>
            <pc:docMk/>
            <pc:sldMk cId="3588038984" sldId="776"/>
            <ac:spMk id="55" creationId="{80CB22B3-CF51-4BDA-8961-59E3D2678277}"/>
          </ac:spMkLst>
        </pc:spChg>
        <pc:grpChg chg="mod">
          <ac:chgData name="Thotakura, Ashok" userId="8def16fa-05a4-42f6-9097-35114c55c601" providerId="ADAL" clId="{8704C1DE-0D16-47A5-8CAE-92B3EE058A93}" dt="2021-06-09T11:56:13.247" v="787" actId="18245"/>
          <ac:grpSpMkLst>
            <pc:docMk/>
            <pc:sldMk cId="3588038984" sldId="776"/>
            <ac:grpSpMk id="3" creationId="{35C9404F-5D56-4388-A8C8-EA44F8B47871}"/>
          </ac:grpSpMkLst>
        </pc:grpChg>
        <pc:graphicFrameChg chg="del">
          <ac:chgData name="Thotakura, Ashok" userId="8def16fa-05a4-42f6-9097-35114c55c601" providerId="ADAL" clId="{8704C1DE-0D16-47A5-8CAE-92B3EE058A93}" dt="2021-06-09T11:45:47.800" v="588" actId="478"/>
          <ac:graphicFrameMkLst>
            <pc:docMk/>
            <pc:sldMk cId="3588038984" sldId="776"/>
            <ac:graphicFrameMk id="2" creationId="{8AEB3C7A-D580-4FA3-B4E9-CAB93100ABFB}"/>
          </ac:graphicFrameMkLst>
        </pc:graphicFrameChg>
        <pc:graphicFrameChg chg="add del mod">
          <ac:chgData name="Thotakura, Ashok" userId="8def16fa-05a4-42f6-9097-35114c55c601" providerId="ADAL" clId="{8704C1DE-0D16-47A5-8CAE-92B3EE058A93}" dt="2021-06-09T11:56:13.247" v="787" actId="18245"/>
          <ac:graphicFrameMkLst>
            <pc:docMk/>
            <pc:sldMk cId="3588038984" sldId="776"/>
            <ac:graphicFrameMk id="4" creationId="{BBF2F5A3-B6A4-4925-8D03-2FF02D6218F2}"/>
          </ac:graphicFrameMkLst>
        </pc:graphicFrameChg>
        <pc:graphicFrameChg chg="add del mod">
          <ac:chgData name="Thotakura, Ashok" userId="8def16fa-05a4-42f6-9097-35114c55c601" providerId="ADAL" clId="{8704C1DE-0D16-47A5-8CAE-92B3EE058A93}" dt="2021-06-09T11:50:00.011" v="648" actId="478"/>
          <ac:graphicFrameMkLst>
            <pc:docMk/>
            <pc:sldMk cId="3588038984" sldId="776"/>
            <ac:graphicFrameMk id="5" creationId="{D495E678-6795-4CA5-9731-50A196A8E10F}"/>
          </ac:graphicFrameMkLst>
        </pc:graphicFrameChg>
        <pc:graphicFrameChg chg="add del mod">
          <ac:chgData name="Thotakura, Ashok" userId="8def16fa-05a4-42f6-9097-35114c55c601" providerId="ADAL" clId="{8704C1DE-0D16-47A5-8CAE-92B3EE058A93}" dt="2021-06-11T08:58:39.834" v="1994" actId="478"/>
          <ac:graphicFrameMkLst>
            <pc:docMk/>
            <pc:sldMk cId="3588038984" sldId="776"/>
            <ac:graphicFrameMk id="56" creationId="{69126B89-380B-49B8-886D-C855769CAF90}"/>
          </ac:graphicFrameMkLst>
        </pc:graphicFrameChg>
      </pc:sldChg>
      <pc:sldChg chg="addSp delSp modSp add mod ord">
        <pc:chgData name="Thotakura, Ashok" userId="8def16fa-05a4-42f6-9097-35114c55c601" providerId="ADAL" clId="{8704C1DE-0D16-47A5-8CAE-92B3EE058A93}" dt="2021-06-14T09:57:43.394" v="3983" actId="1076"/>
        <pc:sldMkLst>
          <pc:docMk/>
          <pc:sldMk cId="486616187" sldId="777"/>
        </pc:sldMkLst>
        <pc:spChg chg="add mod">
          <ac:chgData name="Thotakura, Ashok" userId="8def16fa-05a4-42f6-9097-35114c55c601" providerId="ADAL" clId="{8704C1DE-0D16-47A5-8CAE-92B3EE058A93}" dt="2021-06-11T11:46:30.059" v="2443" actId="1076"/>
          <ac:spMkLst>
            <pc:docMk/>
            <pc:sldMk cId="486616187" sldId="777"/>
            <ac:spMk id="4" creationId="{C0CCF8F9-6D87-4B57-AFB2-D0DB21163648}"/>
          </ac:spMkLst>
        </pc:spChg>
        <pc:spChg chg="mod">
          <ac:chgData name="Thotakura, Ashok" userId="8def16fa-05a4-42f6-9097-35114c55c601" providerId="ADAL" clId="{8704C1DE-0D16-47A5-8CAE-92B3EE058A93}" dt="2021-06-11T11:40:12.811" v="2437" actId="1076"/>
          <ac:spMkLst>
            <pc:docMk/>
            <pc:sldMk cId="486616187" sldId="777"/>
            <ac:spMk id="25" creationId="{72A4E72F-2BB0-4315-B27B-15118D511E55}"/>
          </ac:spMkLst>
        </pc:spChg>
        <pc:spChg chg="add del mod">
          <ac:chgData name="Thotakura, Ashok" userId="8def16fa-05a4-42f6-9097-35114c55c601" providerId="ADAL" clId="{8704C1DE-0D16-47A5-8CAE-92B3EE058A93}" dt="2021-06-09T12:02:33.284" v="857" actId="478"/>
          <ac:spMkLst>
            <pc:docMk/>
            <pc:sldMk cId="486616187" sldId="777"/>
            <ac:spMk id="73" creationId="{991E28A4-D747-46B2-8A68-CB1A515DC46D}"/>
          </ac:spMkLst>
        </pc:spChg>
        <pc:spChg chg="add del mod">
          <ac:chgData name="Thotakura, Ashok" userId="8def16fa-05a4-42f6-9097-35114c55c601" providerId="ADAL" clId="{8704C1DE-0D16-47A5-8CAE-92B3EE058A93}" dt="2021-06-09T12:04:19.332" v="872" actId="478"/>
          <ac:spMkLst>
            <pc:docMk/>
            <pc:sldMk cId="486616187" sldId="777"/>
            <ac:spMk id="74" creationId="{74ED2610-4E01-484F-B743-ACB2F291D12B}"/>
          </ac:spMkLst>
        </pc:spChg>
        <pc:spChg chg="add mod">
          <ac:chgData name="Thotakura, Ashok" userId="8def16fa-05a4-42f6-9097-35114c55c601" providerId="ADAL" clId="{8704C1DE-0D16-47A5-8CAE-92B3EE058A93}" dt="2021-06-14T09:57:23.289" v="3976"/>
          <ac:spMkLst>
            <pc:docMk/>
            <pc:sldMk cId="486616187" sldId="777"/>
            <ac:spMk id="76" creationId="{E2630F63-EF2D-4BBB-AADD-AD71A86BD5C5}"/>
          </ac:spMkLst>
        </pc:spChg>
        <pc:spChg chg="add mod">
          <ac:chgData name="Thotakura, Ashok" userId="8def16fa-05a4-42f6-9097-35114c55c601" providerId="ADAL" clId="{8704C1DE-0D16-47A5-8CAE-92B3EE058A93}" dt="2021-06-11T13:00:55.278" v="2544" actId="1076"/>
          <ac:spMkLst>
            <pc:docMk/>
            <pc:sldMk cId="486616187" sldId="777"/>
            <ac:spMk id="77" creationId="{59F25107-17C3-4C94-BBC5-033A51F22184}"/>
          </ac:spMkLst>
        </pc:spChg>
        <pc:spChg chg="add mod">
          <ac:chgData name="Thotakura, Ashok" userId="8def16fa-05a4-42f6-9097-35114c55c601" providerId="ADAL" clId="{8704C1DE-0D16-47A5-8CAE-92B3EE058A93}" dt="2021-06-14T09:57:34.258" v="3981"/>
          <ac:spMkLst>
            <pc:docMk/>
            <pc:sldMk cId="486616187" sldId="777"/>
            <ac:spMk id="79" creationId="{C8F08382-FD5C-4759-98F4-6BF566FDC75F}"/>
          </ac:spMkLst>
        </pc:spChg>
        <pc:spChg chg="add mod">
          <ac:chgData name="Thotakura, Ashok" userId="8def16fa-05a4-42f6-9097-35114c55c601" providerId="ADAL" clId="{8704C1DE-0D16-47A5-8CAE-92B3EE058A93}" dt="2021-06-11T13:00:08.336" v="2538" actId="1035"/>
          <ac:spMkLst>
            <pc:docMk/>
            <pc:sldMk cId="486616187" sldId="777"/>
            <ac:spMk id="81" creationId="{EEF55403-B1C5-4E33-9DEB-7DCAC55C80D5}"/>
          </ac:spMkLst>
        </pc:spChg>
        <pc:spChg chg="add mod">
          <ac:chgData name="Thotakura, Ashok" userId="8def16fa-05a4-42f6-9097-35114c55c601" providerId="ADAL" clId="{8704C1DE-0D16-47A5-8CAE-92B3EE058A93}" dt="2021-06-14T09:57:14.901" v="3971"/>
          <ac:spMkLst>
            <pc:docMk/>
            <pc:sldMk cId="486616187" sldId="777"/>
            <ac:spMk id="83" creationId="{87EAE651-FFC1-4F3B-BAF9-51931F665409}"/>
          </ac:spMkLst>
        </pc:spChg>
        <pc:spChg chg="add mod">
          <ac:chgData name="Thotakura, Ashok" userId="8def16fa-05a4-42f6-9097-35114c55c601" providerId="ADAL" clId="{8704C1DE-0D16-47A5-8CAE-92B3EE058A93}" dt="2021-06-11T13:00:08.336" v="2538" actId="1035"/>
          <ac:spMkLst>
            <pc:docMk/>
            <pc:sldMk cId="486616187" sldId="777"/>
            <ac:spMk id="85" creationId="{6DF86D3F-01B4-4206-BC96-0A98F5684D8C}"/>
          </ac:spMkLst>
        </pc:spChg>
        <pc:spChg chg="add mod">
          <ac:chgData name="Thotakura, Ashok" userId="8def16fa-05a4-42f6-9097-35114c55c601" providerId="ADAL" clId="{8704C1DE-0D16-47A5-8CAE-92B3EE058A93}" dt="2021-06-11T12:01:47.442" v="2480" actId="1076"/>
          <ac:spMkLst>
            <pc:docMk/>
            <pc:sldMk cId="486616187" sldId="777"/>
            <ac:spMk id="87" creationId="{C849517C-AB6E-4A38-94F0-67AC7420C711}"/>
          </ac:spMkLst>
        </pc:spChg>
        <pc:spChg chg="add mod">
          <ac:chgData name="Thotakura, Ashok" userId="8def16fa-05a4-42f6-9097-35114c55c601" providerId="ADAL" clId="{8704C1DE-0D16-47A5-8CAE-92B3EE058A93}" dt="2021-06-11T12:21:54.035" v="2491" actId="1076"/>
          <ac:spMkLst>
            <pc:docMk/>
            <pc:sldMk cId="486616187" sldId="777"/>
            <ac:spMk id="89" creationId="{A3E39EE3-5F6D-4370-A39D-0965F85975B4}"/>
          </ac:spMkLst>
        </pc:spChg>
        <pc:spChg chg="add mod">
          <ac:chgData name="Thotakura, Ashok" userId="8def16fa-05a4-42f6-9097-35114c55c601" providerId="ADAL" clId="{8704C1DE-0D16-47A5-8CAE-92B3EE058A93}" dt="2021-06-11T13:00:08.336" v="2538" actId="1035"/>
          <ac:spMkLst>
            <pc:docMk/>
            <pc:sldMk cId="486616187" sldId="777"/>
            <ac:spMk id="91" creationId="{2C40F9C4-5E08-4460-9E36-30D86849D74A}"/>
          </ac:spMkLst>
        </pc:spChg>
        <pc:spChg chg="add mod">
          <ac:chgData name="Thotakura, Ashok" userId="8def16fa-05a4-42f6-9097-35114c55c601" providerId="ADAL" clId="{8704C1DE-0D16-47A5-8CAE-92B3EE058A93}" dt="2021-06-11T13:00:20.683" v="2539" actId="1076"/>
          <ac:spMkLst>
            <pc:docMk/>
            <pc:sldMk cId="486616187" sldId="777"/>
            <ac:spMk id="93" creationId="{159E15FE-33B8-493D-8C22-3017E08D7F01}"/>
          </ac:spMkLst>
        </pc:spChg>
        <pc:spChg chg="add mod">
          <ac:chgData name="Thotakura, Ashok" userId="8def16fa-05a4-42f6-9097-35114c55c601" providerId="ADAL" clId="{8704C1DE-0D16-47A5-8CAE-92B3EE058A93}" dt="2021-06-11T13:26:45.738" v="2574" actId="1076"/>
          <ac:spMkLst>
            <pc:docMk/>
            <pc:sldMk cId="486616187" sldId="777"/>
            <ac:spMk id="95" creationId="{37DCA9D6-2EAC-4DAA-BC44-DE8336EFF4A6}"/>
          </ac:spMkLst>
        </pc:spChg>
        <pc:spChg chg="add mod">
          <ac:chgData name="Thotakura, Ashok" userId="8def16fa-05a4-42f6-9097-35114c55c601" providerId="ADAL" clId="{8704C1DE-0D16-47A5-8CAE-92B3EE058A93}" dt="2021-06-11T13:00:08.336" v="2538" actId="1035"/>
          <ac:spMkLst>
            <pc:docMk/>
            <pc:sldMk cId="486616187" sldId="777"/>
            <ac:spMk id="97" creationId="{930199BD-787E-443B-947F-70F6A3E00D51}"/>
          </ac:spMkLst>
        </pc:spChg>
        <pc:spChg chg="add mod">
          <ac:chgData name="Thotakura, Ashok" userId="8def16fa-05a4-42f6-9097-35114c55c601" providerId="ADAL" clId="{8704C1DE-0D16-47A5-8CAE-92B3EE058A93}" dt="2021-06-11T13:00:40.432" v="2542" actId="1076"/>
          <ac:spMkLst>
            <pc:docMk/>
            <pc:sldMk cId="486616187" sldId="777"/>
            <ac:spMk id="99" creationId="{2373D35E-33CB-42C2-9137-956790AEE45C}"/>
          </ac:spMkLst>
        </pc:spChg>
        <pc:spChg chg="add mod">
          <ac:chgData name="Thotakura, Ashok" userId="8def16fa-05a4-42f6-9097-35114c55c601" providerId="ADAL" clId="{8704C1DE-0D16-47A5-8CAE-92B3EE058A93}" dt="2021-06-11T11:50:04.868" v="2470" actId="1076"/>
          <ac:spMkLst>
            <pc:docMk/>
            <pc:sldMk cId="486616187" sldId="777"/>
            <ac:spMk id="101" creationId="{4039633C-DF39-4759-BBAD-22784D6C74E9}"/>
          </ac:spMkLst>
        </pc:spChg>
        <pc:spChg chg="add mod">
          <ac:chgData name="Thotakura, Ashok" userId="8def16fa-05a4-42f6-9097-35114c55c601" providerId="ADAL" clId="{8704C1DE-0D16-47A5-8CAE-92B3EE058A93}" dt="2021-06-11T12:00:32.601" v="2474" actId="313"/>
          <ac:spMkLst>
            <pc:docMk/>
            <pc:sldMk cId="486616187" sldId="777"/>
            <ac:spMk id="103" creationId="{ECBFCF56-EE7A-4E95-9727-34C07A9715A7}"/>
          </ac:spMkLst>
        </pc:spChg>
        <pc:spChg chg="add del mod">
          <ac:chgData name="Thotakura, Ashok" userId="8def16fa-05a4-42f6-9097-35114c55c601" providerId="ADAL" clId="{8704C1DE-0D16-47A5-8CAE-92B3EE058A93}" dt="2021-06-14T07:57:39.836" v="3193" actId="1076"/>
          <ac:spMkLst>
            <pc:docMk/>
            <pc:sldMk cId="486616187" sldId="777"/>
            <ac:spMk id="105" creationId="{834B142C-D5E7-4A61-B8CF-AAA4CE799BC0}"/>
          </ac:spMkLst>
        </pc:spChg>
        <pc:spChg chg="add del mod">
          <ac:chgData name="Thotakura, Ashok" userId="8def16fa-05a4-42f6-9097-35114c55c601" providerId="ADAL" clId="{8704C1DE-0D16-47A5-8CAE-92B3EE058A93}" dt="2021-06-11T08:57:15.998" v="1988" actId="478"/>
          <ac:spMkLst>
            <pc:docMk/>
            <pc:sldMk cId="486616187" sldId="777"/>
            <ac:spMk id="130" creationId="{1F7D4A02-2275-405B-B553-E2A3F8F0C4D5}"/>
          </ac:spMkLst>
        </pc:spChg>
        <pc:spChg chg="add del mod">
          <ac:chgData name="Thotakura, Ashok" userId="8def16fa-05a4-42f6-9097-35114c55c601" providerId="ADAL" clId="{8704C1DE-0D16-47A5-8CAE-92B3EE058A93}" dt="2021-06-11T13:40:53.689" v="2578" actId="478"/>
          <ac:spMkLst>
            <pc:docMk/>
            <pc:sldMk cId="486616187" sldId="777"/>
            <ac:spMk id="131" creationId="{0494C8F1-37C6-42B7-8CC9-EB9233AB3EAC}"/>
          </ac:spMkLst>
        </pc:spChg>
        <pc:spChg chg="add mod">
          <ac:chgData name="Thotakura, Ashok" userId="8def16fa-05a4-42f6-9097-35114c55c601" providerId="ADAL" clId="{8704C1DE-0D16-47A5-8CAE-92B3EE058A93}" dt="2021-06-14T09:57:43.394" v="3983" actId="1076"/>
          <ac:spMkLst>
            <pc:docMk/>
            <pc:sldMk cId="486616187" sldId="777"/>
            <ac:spMk id="132" creationId="{14BF66AD-D022-4299-89E2-C3520367CB41}"/>
          </ac:spMkLst>
        </pc:spChg>
        <pc:grpChg chg="del">
          <ac:chgData name="Thotakura, Ashok" userId="8def16fa-05a4-42f6-9097-35114c55c601" providerId="ADAL" clId="{8704C1DE-0D16-47A5-8CAE-92B3EE058A93}" dt="2021-06-09T11:57:04.532" v="789" actId="478"/>
          <ac:grpSpMkLst>
            <pc:docMk/>
            <pc:sldMk cId="486616187" sldId="777"/>
            <ac:grpSpMk id="3" creationId="{35C9404F-5D56-4388-A8C8-EA44F8B47871}"/>
          </ac:grpSpMkLst>
        </pc:grpChg>
        <pc:graphicFrameChg chg="add del mod">
          <ac:chgData name="Thotakura, Ashok" userId="8def16fa-05a4-42f6-9097-35114c55c601" providerId="ADAL" clId="{8704C1DE-0D16-47A5-8CAE-92B3EE058A93}" dt="2021-06-09T12:03:27.298" v="866" actId="478"/>
          <ac:graphicFrameMkLst>
            <pc:docMk/>
            <pc:sldMk cId="486616187" sldId="777"/>
            <ac:graphicFrameMk id="56" creationId="{143E09FC-75C7-437A-8CFA-212FCDEDB94E}"/>
          </ac:graphicFrameMkLst>
        </pc:graphicFrame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2" creationId="{1A8B266E-CE56-4122-A3C7-D78686AC3CC5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5" creationId="{78E30A76-E97F-4C3E-BD76-EC09D2560727}"/>
          </ac:picMkLst>
        </pc:picChg>
        <pc:picChg chg="add del mod">
          <ac:chgData name="Thotakura, Ashok" userId="8def16fa-05a4-42f6-9097-35114c55c601" providerId="ADAL" clId="{8704C1DE-0D16-47A5-8CAE-92B3EE058A93}" dt="2021-06-09T11:58:05.062" v="833" actId="478"/>
          <ac:picMkLst>
            <pc:docMk/>
            <pc:sldMk cId="486616187" sldId="777"/>
            <ac:picMk id="57" creationId="{0149DFAF-7D73-497E-AAAD-0D0020F6C397}"/>
          </ac:picMkLst>
        </pc:picChg>
        <pc:picChg chg="add del mod">
          <ac:chgData name="Thotakura, Ashok" userId="8def16fa-05a4-42f6-9097-35114c55c601" providerId="ADAL" clId="{8704C1DE-0D16-47A5-8CAE-92B3EE058A93}" dt="2021-06-09T12:04:04.398" v="868" actId="478"/>
          <ac:picMkLst>
            <pc:docMk/>
            <pc:sldMk cId="486616187" sldId="777"/>
            <ac:picMk id="58" creationId="{8C363C58-4A69-4100-9AE4-A0409E0C8CB5}"/>
          </ac:picMkLst>
        </pc:picChg>
        <pc:picChg chg="add del mod">
          <ac:chgData name="Thotakura, Ashok" userId="8def16fa-05a4-42f6-9097-35114c55c601" providerId="ADAL" clId="{8704C1DE-0D16-47A5-8CAE-92B3EE058A93}" dt="2021-06-09T12:04:24.650" v="874" actId="478"/>
          <ac:picMkLst>
            <pc:docMk/>
            <pc:sldMk cId="486616187" sldId="777"/>
            <ac:picMk id="59" creationId="{BDBDCDEE-72B8-4325-BFB6-55C22AE02933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60" creationId="{BF3BBB41-A7FA-46EE-BB81-5AE0D2D96028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61" creationId="{63C4CA85-ABB2-449F-81AD-2636BFDF28BF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62" creationId="{7135B25F-FC60-4F8B-BEA7-78DD4B9EAB1A}"/>
          </ac:picMkLst>
        </pc:picChg>
        <pc:picChg chg="add del mod">
          <ac:chgData name="Thotakura, Ashok" userId="8def16fa-05a4-42f6-9097-35114c55c601" providerId="ADAL" clId="{8704C1DE-0D16-47A5-8CAE-92B3EE058A93}" dt="2021-06-09T12:04:22.626" v="873" actId="478"/>
          <ac:picMkLst>
            <pc:docMk/>
            <pc:sldMk cId="486616187" sldId="777"/>
            <ac:picMk id="63" creationId="{B9D88966-1954-4331-B8EE-8D2F4B1138C0}"/>
          </ac:picMkLst>
        </pc:picChg>
        <pc:picChg chg="add del mod">
          <ac:chgData name="Thotakura, Ashok" userId="8def16fa-05a4-42f6-9097-35114c55c601" providerId="ADAL" clId="{8704C1DE-0D16-47A5-8CAE-92B3EE058A93}" dt="2021-06-09T12:04:22.626" v="873" actId="478"/>
          <ac:picMkLst>
            <pc:docMk/>
            <pc:sldMk cId="486616187" sldId="777"/>
            <ac:picMk id="64" creationId="{3C3B34D1-87BD-4300-B9A5-701A8E30D039}"/>
          </ac:picMkLst>
        </pc:picChg>
        <pc:picChg chg="add del mod">
          <ac:chgData name="Thotakura, Ashok" userId="8def16fa-05a4-42f6-9097-35114c55c601" providerId="ADAL" clId="{8704C1DE-0D16-47A5-8CAE-92B3EE058A93}" dt="2021-06-09T12:04:22.626" v="873" actId="478"/>
          <ac:picMkLst>
            <pc:docMk/>
            <pc:sldMk cId="486616187" sldId="777"/>
            <ac:picMk id="65" creationId="{C4EE3C5A-E073-4667-952D-31F56A1B2EDD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66" creationId="{0FFAF442-8B03-4B39-A97B-63CD5ED3D156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67" creationId="{A2C9576C-F8D5-4879-82F1-DA7B8EDB4820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68" creationId="{01381889-60B2-4D99-9108-C296439BF99E}"/>
          </ac:picMkLst>
        </pc:picChg>
        <pc:picChg chg="add del mod">
          <ac:chgData name="Thotakura, Ashok" userId="8def16fa-05a4-42f6-9097-35114c55c601" providerId="ADAL" clId="{8704C1DE-0D16-47A5-8CAE-92B3EE058A93}" dt="2021-06-09T12:04:22.626" v="873" actId="478"/>
          <ac:picMkLst>
            <pc:docMk/>
            <pc:sldMk cId="486616187" sldId="777"/>
            <ac:picMk id="69" creationId="{38961203-7274-4440-93F6-F4A2CCE9F823}"/>
          </ac:picMkLst>
        </pc:picChg>
        <pc:picChg chg="add del mod">
          <ac:chgData name="Thotakura, Ashok" userId="8def16fa-05a4-42f6-9097-35114c55c601" providerId="ADAL" clId="{8704C1DE-0D16-47A5-8CAE-92B3EE058A93}" dt="2021-06-09T12:04:22.626" v="873" actId="478"/>
          <ac:picMkLst>
            <pc:docMk/>
            <pc:sldMk cId="486616187" sldId="777"/>
            <ac:picMk id="70" creationId="{CB044E3E-BF8E-465B-8AE4-D908F5CCF7C7}"/>
          </ac:picMkLst>
        </pc:picChg>
        <pc:picChg chg="add del mod">
          <ac:chgData name="Thotakura, Ashok" userId="8def16fa-05a4-42f6-9097-35114c55c601" providerId="ADAL" clId="{8704C1DE-0D16-47A5-8CAE-92B3EE058A93}" dt="2021-06-09T12:04:22.626" v="873" actId="478"/>
          <ac:picMkLst>
            <pc:docMk/>
            <pc:sldMk cId="486616187" sldId="777"/>
            <ac:picMk id="71" creationId="{BA67E2AA-D3C5-4825-A1AF-6BAC2C0C36D9}"/>
          </ac:picMkLst>
        </pc:picChg>
        <pc:picChg chg="add del mod">
          <ac:chgData name="Thotakura, Ashok" userId="8def16fa-05a4-42f6-9097-35114c55c601" providerId="ADAL" clId="{8704C1DE-0D16-47A5-8CAE-92B3EE058A93}" dt="2021-06-09T12:04:19.332" v="872" actId="478"/>
          <ac:picMkLst>
            <pc:docMk/>
            <pc:sldMk cId="486616187" sldId="777"/>
            <ac:picMk id="72" creationId="{32D61373-807E-407D-9E75-5ECA9E27ADE5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78" creationId="{8E3FA424-3C04-47FE-B712-A6A00B6AF9DB}"/>
          </ac:picMkLst>
        </pc:picChg>
        <pc:picChg chg="add del mod">
          <ac:chgData name="Thotakura, Ashok" userId="8def16fa-05a4-42f6-9097-35114c55c601" providerId="ADAL" clId="{8704C1DE-0D16-47A5-8CAE-92B3EE058A93}" dt="2021-06-10T10:56:23.956" v="1904" actId="478"/>
          <ac:picMkLst>
            <pc:docMk/>
            <pc:sldMk cId="486616187" sldId="777"/>
            <ac:picMk id="80" creationId="{4C096067-5256-4E82-AF95-EE62932518B2}"/>
          </ac:picMkLst>
        </pc:picChg>
        <pc:picChg chg="add del mod">
          <ac:chgData name="Thotakura, Ashok" userId="8def16fa-05a4-42f6-9097-35114c55c601" providerId="ADAL" clId="{8704C1DE-0D16-47A5-8CAE-92B3EE058A93}" dt="2021-06-10T05:07:38.560" v="1889" actId="478"/>
          <ac:picMkLst>
            <pc:docMk/>
            <pc:sldMk cId="486616187" sldId="777"/>
            <ac:picMk id="82" creationId="{C6E4A2BA-9BA5-4258-80CC-8574DEA0161A}"/>
          </ac:picMkLst>
        </pc:picChg>
        <pc:picChg chg="add del mod">
          <ac:chgData name="Thotakura, Ashok" userId="8def16fa-05a4-42f6-9097-35114c55c601" providerId="ADAL" clId="{8704C1DE-0D16-47A5-8CAE-92B3EE058A93}" dt="2021-06-09T13:47:04.268" v="1877" actId="478"/>
          <ac:picMkLst>
            <pc:docMk/>
            <pc:sldMk cId="486616187" sldId="777"/>
            <ac:picMk id="86" creationId="{290EFB43-BA20-4D19-8854-D3F128883371}"/>
          </ac:picMkLst>
        </pc:picChg>
        <pc:picChg chg="add del mod">
          <ac:chgData name="Thotakura, Ashok" userId="8def16fa-05a4-42f6-9097-35114c55c601" providerId="ADAL" clId="{8704C1DE-0D16-47A5-8CAE-92B3EE058A93}" dt="2021-06-10T11:00:13.631" v="1910" actId="478"/>
          <ac:picMkLst>
            <pc:docMk/>
            <pc:sldMk cId="486616187" sldId="777"/>
            <ac:picMk id="88" creationId="{3C11D867-EE11-4C02-8412-38FD8A28E52D}"/>
          </ac:picMkLst>
        </pc:picChg>
        <pc:picChg chg="add del mod">
          <ac:chgData name="Thotakura, Ashok" userId="8def16fa-05a4-42f6-9097-35114c55c601" providerId="ADAL" clId="{8704C1DE-0D16-47A5-8CAE-92B3EE058A93}" dt="2021-06-11T08:52:57.440" v="1979" actId="478"/>
          <ac:picMkLst>
            <pc:docMk/>
            <pc:sldMk cId="486616187" sldId="777"/>
            <ac:picMk id="90" creationId="{DA7D8DB3-1730-44C0-84F5-F7F807FBB053}"/>
          </ac:picMkLst>
        </pc:picChg>
        <pc:picChg chg="add del mod">
          <ac:chgData name="Thotakura, Ashok" userId="8def16fa-05a4-42f6-9097-35114c55c601" providerId="ADAL" clId="{8704C1DE-0D16-47A5-8CAE-92B3EE058A93}" dt="2021-06-11T04:04:08.916" v="1949" actId="478"/>
          <ac:picMkLst>
            <pc:docMk/>
            <pc:sldMk cId="486616187" sldId="777"/>
            <ac:picMk id="92" creationId="{C12F4701-1F74-4B6E-A008-086E2853F2B0}"/>
          </ac:picMkLst>
        </pc:picChg>
        <pc:picChg chg="add del mod">
          <ac:chgData name="Thotakura, Ashok" userId="8def16fa-05a4-42f6-9097-35114c55c601" providerId="ADAL" clId="{8704C1DE-0D16-47A5-8CAE-92B3EE058A93}" dt="2021-06-10T10:55:32.664" v="1898" actId="478"/>
          <ac:picMkLst>
            <pc:docMk/>
            <pc:sldMk cId="486616187" sldId="777"/>
            <ac:picMk id="94" creationId="{1AA8AD11-91AE-442B-A923-1D737D122DAA}"/>
          </ac:picMkLst>
        </pc:picChg>
        <pc:picChg chg="add del mod">
          <ac:chgData name="Thotakura, Ashok" userId="8def16fa-05a4-42f6-9097-35114c55c601" providerId="ADAL" clId="{8704C1DE-0D16-47A5-8CAE-92B3EE058A93}" dt="2021-06-11T08:53:02.900" v="1983" actId="478"/>
          <ac:picMkLst>
            <pc:docMk/>
            <pc:sldMk cId="486616187" sldId="777"/>
            <ac:picMk id="96" creationId="{383D2CAE-FEEA-4B1E-81B9-C5337DA9F9BA}"/>
          </ac:picMkLst>
        </pc:picChg>
        <pc:picChg chg="add del mod">
          <ac:chgData name="Thotakura, Ashok" userId="8def16fa-05a4-42f6-9097-35114c55c601" providerId="ADAL" clId="{8704C1DE-0D16-47A5-8CAE-92B3EE058A93}" dt="2021-06-10T13:49:35.176" v="1939" actId="478"/>
          <ac:picMkLst>
            <pc:docMk/>
            <pc:sldMk cId="486616187" sldId="777"/>
            <ac:picMk id="98" creationId="{A3D4FE3E-67BC-486E-89A0-34877C97D1BB}"/>
          </ac:picMkLst>
        </pc:picChg>
        <pc:picChg chg="add del mod">
          <ac:chgData name="Thotakura, Ashok" userId="8def16fa-05a4-42f6-9097-35114c55c601" providerId="ADAL" clId="{8704C1DE-0D16-47A5-8CAE-92B3EE058A93}" dt="2021-06-10T13:49:48.191" v="1944" actId="478"/>
          <ac:picMkLst>
            <pc:docMk/>
            <pc:sldMk cId="486616187" sldId="777"/>
            <ac:picMk id="100" creationId="{CCA8D528-99BB-4B34-A692-E207151398F4}"/>
          </ac:picMkLst>
        </pc:picChg>
        <pc:picChg chg="add del mod">
          <ac:chgData name="Thotakura, Ashok" userId="8def16fa-05a4-42f6-9097-35114c55c601" providerId="ADAL" clId="{8704C1DE-0D16-47A5-8CAE-92B3EE058A93}" dt="2021-06-11T12:01:15.508" v="2475" actId="478"/>
          <ac:picMkLst>
            <pc:docMk/>
            <pc:sldMk cId="486616187" sldId="777"/>
            <ac:picMk id="102" creationId="{C529A354-EA6B-4D35-BF4C-814170197BE2}"/>
          </ac:picMkLst>
        </pc:picChg>
        <pc:picChg chg="add del mod">
          <ac:chgData name="Thotakura, Ashok" userId="8def16fa-05a4-42f6-9097-35114c55c601" providerId="ADAL" clId="{8704C1DE-0D16-47A5-8CAE-92B3EE058A93}" dt="2021-06-11T04:05:25.702" v="1957" actId="478"/>
          <ac:picMkLst>
            <pc:docMk/>
            <pc:sldMk cId="486616187" sldId="777"/>
            <ac:picMk id="104" creationId="{28E60E1D-74AF-483F-B6DC-1A5F7504E9B3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06" creationId="{4D2DE4F2-DBBF-42FE-B8C9-94F3CF2BB3E1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07" creationId="{59259C06-FA20-47E4-B059-32692CD13B06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09" creationId="{39BD4F41-67DC-4B05-B623-867ACF4729CC}"/>
          </ac:picMkLst>
        </pc:picChg>
        <pc:picChg chg="add del mod">
          <ac:chgData name="Thotakura, Ashok" userId="8def16fa-05a4-42f6-9097-35114c55c601" providerId="ADAL" clId="{8704C1DE-0D16-47A5-8CAE-92B3EE058A93}" dt="2021-06-14T04:48:57.313" v="2605" actId="478"/>
          <ac:picMkLst>
            <pc:docMk/>
            <pc:sldMk cId="486616187" sldId="777"/>
            <ac:picMk id="111" creationId="{DDA2E21A-36CB-4C69-9F05-90A1D7101539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13" creationId="{7091C5CE-D3EA-492F-BAF9-116ECB6853E5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15" creationId="{593733CC-BB53-423B-B62C-55FBBF5D6252}"/>
          </ac:picMkLst>
        </pc:picChg>
        <pc:picChg chg="add del mod">
          <ac:chgData name="Thotakura, Ashok" userId="8def16fa-05a4-42f6-9097-35114c55c601" providerId="ADAL" clId="{8704C1DE-0D16-47A5-8CAE-92B3EE058A93}" dt="2021-06-14T08:37:16.738" v="3384" actId="478"/>
          <ac:picMkLst>
            <pc:docMk/>
            <pc:sldMk cId="486616187" sldId="777"/>
            <ac:picMk id="117" creationId="{991A9D6B-7347-4DF0-A1C4-551C3CD98961}"/>
          </ac:picMkLst>
        </pc:picChg>
        <pc:picChg chg="add mod">
          <ac:chgData name="Thotakura, Ashok" userId="8def16fa-05a4-42f6-9097-35114c55c601" providerId="ADAL" clId="{8704C1DE-0D16-47A5-8CAE-92B3EE058A93}" dt="2021-06-11T13:25:30.753" v="2573" actId="1076"/>
          <ac:picMkLst>
            <pc:docMk/>
            <pc:sldMk cId="486616187" sldId="777"/>
            <ac:picMk id="119" creationId="{A06A6372-1C9E-43D8-83AE-567C3FC3C7BF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21" creationId="{F6A2A840-7CAC-4C06-84CB-F3AB4F105D22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123" creationId="{72B1448F-74F6-47BE-81E0-9160E2514537}"/>
          </ac:picMkLst>
        </pc:picChg>
        <pc:picChg chg="add del mod modCrop">
          <ac:chgData name="Thotakura, Ashok" userId="8def16fa-05a4-42f6-9097-35114c55c601" providerId="ADAL" clId="{8704C1DE-0D16-47A5-8CAE-92B3EE058A93}" dt="2021-06-14T08:00:46.126" v="3198" actId="478"/>
          <ac:picMkLst>
            <pc:docMk/>
            <pc:sldMk cId="486616187" sldId="777"/>
            <ac:picMk id="125" creationId="{BAD9FEAA-4850-42B9-8E58-621AE518D929}"/>
          </ac:picMkLst>
        </pc:picChg>
        <pc:picChg chg="add mod">
          <ac:chgData name="Thotakura, Ashok" userId="8def16fa-05a4-42f6-9097-35114c55c601" providerId="ADAL" clId="{8704C1DE-0D16-47A5-8CAE-92B3EE058A93}" dt="2021-06-11T14:07:12.884" v="2601" actId="1076"/>
          <ac:picMkLst>
            <pc:docMk/>
            <pc:sldMk cId="486616187" sldId="777"/>
            <ac:picMk id="127" creationId="{76A9C6D8-2C62-4ADD-BE79-0B6D3748757E}"/>
          </ac:picMkLst>
        </pc:picChg>
        <pc:picChg chg="add del mod">
          <ac:chgData name="Thotakura, Ashok" userId="8def16fa-05a4-42f6-9097-35114c55c601" providerId="ADAL" clId="{8704C1DE-0D16-47A5-8CAE-92B3EE058A93}" dt="2021-06-11T13:04:56.706" v="2562" actId="478"/>
          <ac:picMkLst>
            <pc:docMk/>
            <pc:sldMk cId="486616187" sldId="777"/>
            <ac:picMk id="129" creationId="{6B79E37D-C1AD-43B9-975D-32517DD733D1}"/>
          </ac:picMkLst>
        </pc:picChg>
        <pc:picChg chg="add del mod">
          <ac:chgData name="Thotakura, Ashok" userId="8def16fa-05a4-42f6-9097-35114c55c601" providerId="ADAL" clId="{8704C1DE-0D16-47A5-8CAE-92B3EE058A93}" dt="2021-06-11T13:05:05.698" v="2564" actId="478"/>
          <ac:picMkLst>
            <pc:docMk/>
            <pc:sldMk cId="486616187" sldId="777"/>
            <ac:picMk id="134" creationId="{CD87DB26-2D0B-44D7-9134-36324F589AB3}"/>
          </ac:picMkLst>
        </pc:picChg>
        <pc:picChg chg="add del mod">
          <ac:chgData name="Thotakura, Ashok" userId="8def16fa-05a4-42f6-9097-35114c55c601" providerId="ADAL" clId="{8704C1DE-0D16-47A5-8CAE-92B3EE058A93}" dt="2021-06-11T13:05:13.698" v="2566" actId="478"/>
          <ac:picMkLst>
            <pc:docMk/>
            <pc:sldMk cId="486616187" sldId="777"/>
            <ac:picMk id="136" creationId="{8507C782-2AC8-43BF-B209-8B3BA15B0F58}"/>
          </ac:picMkLst>
        </pc:picChg>
        <pc:picChg chg="add del mod">
          <ac:chgData name="Thotakura, Ashok" userId="8def16fa-05a4-42f6-9097-35114c55c601" providerId="ADAL" clId="{8704C1DE-0D16-47A5-8CAE-92B3EE058A93}" dt="2021-06-11T13:05:22.884" v="2568" actId="478"/>
          <ac:picMkLst>
            <pc:docMk/>
            <pc:sldMk cId="486616187" sldId="777"/>
            <ac:picMk id="138" creationId="{F7593666-6CFA-4265-B699-134D304609A9}"/>
          </ac:picMkLst>
        </pc:picChg>
        <pc:picChg chg="add del mod">
          <ac:chgData name="Thotakura, Ashok" userId="8def16fa-05a4-42f6-9097-35114c55c601" providerId="ADAL" clId="{8704C1DE-0D16-47A5-8CAE-92B3EE058A93}" dt="2021-06-11T14:03:39.813" v="2589" actId="478"/>
          <ac:picMkLst>
            <pc:docMk/>
            <pc:sldMk cId="486616187" sldId="777"/>
            <ac:picMk id="140" creationId="{BD3AF808-D295-42FA-8D38-353282DBD973}"/>
          </ac:picMkLst>
        </pc:picChg>
        <pc:picChg chg="add mod">
          <ac:chgData name="Thotakura, Ashok" userId="8def16fa-05a4-42f6-9097-35114c55c601" providerId="ADAL" clId="{8704C1DE-0D16-47A5-8CAE-92B3EE058A93}" dt="2021-06-11T14:03:54.310" v="2598" actId="1076"/>
          <ac:picMkLst>
            <pc:docMk/>
            <pc:sldMk cId="486616187" sldId="777"/>
            <ac:picMk id="142" creationId="{821F192F-B71E-4091-8278-3578840B312F}"/>
          </ac:picMkLst>
        </pc:picChg>
        <pc:picChg chg="add del mod">
          <ac:chgData name="Thotakura, Ashok" userId="8def16fa-05a4-42f6-9097-35114c55c601" providerId="ADAL" clId="{8704C1DE-0D16-47A5-8CAE-92B3EE058A93}" dt="2021-06-14T04:50:58.039" v="2611" actId="478"/>
          <ac:picMkLst>
            <pc:docMk/>
            <pc:sldMk cId="486616187" sldId="777"/>
            <ac:picMk id="144" creationId="{5C36648E-2A82-4CEB-9964-A062EAE1ECEB}"/>
          </ac:picMkLst>
        </pc:picChg>
        <pc:picChg chg="add del mod">
          <ac:chgData name="Thotakura, Ashok" userId="8def16fa-05a4-42f6-9097-35114c55c601" providerId="ADAL" clId="{8704C1DE-0D16-47A5-8CAE-92B3EE058A93}" dt="2021-06-14T04:59:28.985" v="2617" actId="478"/>
          <ac:picMkLst>
            <pc:docMk/>
            <pc:sldMk cId="486616187" sldId="777"/>
            <ac:picMk id="146" creationId="{1ED4A028-DFB1-4C94-BEAD-C4E98D2CCDF1}"/>
          </ac:picMkLst>
        </pc:picChg>
        <pc:picChg chg="add del mod">
          <ac:chgData name="Thotakura, Ashok" userId="8def16fa-05a4-42f6-9097-35114c55c601" providerId="ADAL" clId="{8704C1DE-0D16-47A5-8CAE-92B3EE058A93}" dt="2021-06-14T05:06:24.749" v="2621" actId="478"/>
          <ac:picMkLst>
            <pc:docMk/>
            <pc:sldMk cId="486616187" sldId="777"/>
            <ac:picMk id="148" creationId="{0DA6E770-82D0-43D7-892A-DB16D19F76B4}"/>
          </ac:picMkLst>
        </pc:picChg>
        <pc:picChg chg="add del mod">
          <ac:chgData name="Thotakura, Ashok" userId="8def16fa-05a4-42f6-9097-35114c55c601" providerId="ADAL" clId="{8704C1DE-0D16-47A5-8CAE-92B3EE058A93}" dt="2021-06-14T08:10:25.420" v="3258" actId="478"/>
          <ac:picMkLst>
            <pc:docMk/>
            <pc:sldMk cId="486616187" sldId="777"/>
            <ac:picMk id="150" creationId="{5DEE7807-4F29-4CE4-A8F2-5E70898D955F}"/>
          </ac:picMkLst>
        </pc:picChg>
        <pc:picChg chg="add del mod">
          <ac:chgData name="Thotakura, Ashok" userId="8def16fa-05a4-42f6-9097-35114c55c601" providerId="ADAL" clId="{8704C1DE-0D16-47A5-8CAE-92B3EE058A93}" dt="2021-06-14T08:01:43.835" v="3205" actId="478"/>
          <ac:picMkLst>
            <pc:docMk/>
            <pc:sldMk cId="486616187" sldId="777"/>
            <ac:picMk id="152" creationId="{A58F2E64-C935-4F3B-853D-A76337A417F8}"/>
          </ac:picMkLst>
        </pc:picChg>
        <pc:picChg chg="add mod">
          <ac:chgData name="Thotakura, Ashok" userId="8def16fa-05a4-42f6-9097-35114c55c601" providerId="ADAL" clId="{8704C1DE-0D16-47A5-8CAE-92B3EE058A93}" dt="2021-06-14T08:19:26.186" v="3381" actId="14100"/>
          <ac:picMkLst>
            <pc:docMk/>
            <pc:sldMk cId="486616187" sldId="777"/>
            <ac:picMk id="154" creationId="{ABDC26CA-70BB-4BDC-8F0B-9941A5F60762}"/>
          </ac:picMkLst>
        </pc:picChg>
        <pc:picChg chg="add mod">
          <ac:chgData name="Thotakura, Ashok" userId="8def16fa-05a4-42f6-9097-35114c55c601" providerId="ADAL" clId="{8704C1DE-0D16-47A5-8CAE-92B3EE058A93}" dt="2021-06-14T08:10:40.903" v="3265" actId="1076"/>
          <ac:picMkLst>
            <pc:docMk/>
            <pc:sldMk cId="486616187" sldId="777"/>
            <ac:picMk id="156" creationId="{1083FCE6-8AF2-4565-B3AC-CB397DA5A86A}"/>
          </ac:picMkLst>
        </pc:picChg>
        <pc:picChg chg="add del mod">
          <ac:chgData name="Thotakura, Ashok" userId="8def16fa-05a4-42f6-9097-35114c55c601" providerId="ADAL" clId="{8704C1DE-0D16-47A5-8CAE-92B3EE058A93}" dt="2021-06-14T08:57:58.448" v="3473" actId="478"/>
          <ac:picMkLst>
            <pc:docMk/>
            <pc:sldMk cId="486616187" sldId="777"/>
            <ac:picMk id="158" creationId="{F6AF9296-848C-4FF6-941B-E40C939B1D4A}"/>
          </ac:picMkLst>
        </pc:picChg>
        <pc:picChg chg="add mod">
          <ac:chgData name="Thotakura, Ashok" userId="8def16fa-05a4-42f6-9097-35114c55c601" providerId="ADAL" clId="{8704C1DE-0D16-47A5-8CAE-92B3EE058A93}" dt="2021-06-14T08:58:13.785" v="3481" actId="14100"/>
          <ac:picMkLst>
            <pc:docMk/>
            <pc:sldMk cId="486616187" sldId="777"/>
            <ac:picMk id="160" creationId="{DF5C7BEA-CBB3-4399-896E-E9A7D9E321CE}"/>
          </ac:picMkLst>
        </pc:picChg>
        <pc:picChg chg="add del mod">
          <ac:chgData name="Thotakura, Ashok" userId="8def16fa-05a4-42f6-9097-35114c55c601" providerId="ADAL" clId="{8704C1DE-0D16-47A5-8CAE-92B3EE058A93}" dt="2021-06-11T13:02:11.348" v="2551" actId="478"/>
          <ac:picMkLst>
            <pc:docMk/>
            <pc:sldMk cId="486616187" sldId="777"/>
            <ac:picMk id="3074" creationId="{AD4AEC83-2945-4141-A060-353475EBDEA4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3076" creationId="{DA733EDE-5749-4DB3-A0EA-49DD0FA8E052}"/>
          </ac:picMkLst>
        </pc:picChg>
        <pc:picChg chg="add del mod">
          <ac:chgData name="Thotakura, Ashok" userId="8def16fa-05a4-42f6-9097-35114c55c601" providerId="ADAL" clId="{8704C1DE-0D16-47A5-8CAE-92B3EE058A93}" dt="2021-06-11T04:05:01.868" v="1952" actId="478"/>
          <ac:picMkLst>
            <pc:docMk/>
            <pc:sldMk cId="486616187" sldId="777"/>
            <ac:picMk id="3078" creationId="{6DA43534-A97C-4765-9F1A-FBFEB5909B5E}"/>
          </ac:picMkLst>
        </pc:picChg>
        <pc:picChg chg="add mod">
          <ac:chgData name="Thotakura, Ashok" userId="8def16fa-05a4-42f6-9097-35114c55c601" providerId="ADAL" clId="{8704C1DE-0D16-47A5-8CAE-92B3EE058A93}" dt="2021-06-11T13:06:05.343" v="2570" actId="14100"/>
          <ac:picMkLst>
            <pc:docMk/>
            <pc:sldMk cId="486616187" sldId="777"/>
            <ac:picMk id="3080" creationId="{BCB5F0F6-685A-4265-A507-270DC8328D45}"/>
          </ac:picMkLst>
        </pc:picChg>
      </pc:sldChg>
      <pc:sldChg chg="addSp delSp modSp add mod ord">
        <pc:chgData name="Thotakura, Ashok" userId="8def16fa-05a4-42f6-9097-35114c55c601" providerId="ADAL" clId="{8704C1DE-0D16-47A5-8CAE-92B3EE058A93}" dt="2021-06-14T11:53:49.975" v="4173" actId="167"/>
        <pc:sldMkLst>
          <pc:docMk/>
          <pc:sldMk cId="2850370611" sldId="789"/>
        </pc:sldMkLst>
        <pc:spChg chg="del">
          <ac:chgData name="Thotakura, Ashok" userId="8def16fa-05a4-42f6-9097-35114c55c601" providerId="ADAL" clId="{8704C1DE-0D16-47A5-8CAE-92B3EE058A93}" dt="2021-06-09T12:28:15.379" v="1297" actId="478"/>
          <ac:spMkLst>
            <pc:docMk/>
            <pc:sldMk cId="2850370611" sldId="789"/>
            <ac:spMk id="2" creationId="{667502B6-DA16-2C47-AAA1-15051C568ABF}"/>
          </ac:spMkLst>
        </pc:spChg>
        <pc:spChg chg="mod">
          <ac:chgData name="Thotakura, Ashok" userId="8def16fa-05a4-42f6-9097-35114c55c601" providerId="ADAL" clId="{8704C1DE-0D16-47A5-8CAE-92B3EE058A93}" dt="2021-06-09T12:28:46.498" v="1324" actId="20577"/>
          <ac:spMkLst>
            <pc:docMk/>
            <pc:sldMk cId="2850370611" sldId="789"/>
            <ac:spMk id="20" creationId="{5D306B8D-6B80-784C-9AEA-DDB38908B189}"/>
          </ac:spMkLst>
        </pc:spChg>
        <pc:spChg chg="mod">
          <ac:chgData name="Thotakura, Ashok" userId="8def16fa-05a4-42f6-9097-35114c55c601" providerId="ADAL" clId="{8704C1DE-0D16-47A5-8CAE-92B3EE058A93}" dt="2021-06-09T12:30:33.466" v="1403" actId="6549"/>
          <ac:spMkLst>
            <pc:docMk/>
            <pc:sldMk cId="2850370611" sldId="789"/>
            <ac:spMk id="21" creationId="{0F8DEFDA-FBDF-CB4F-AB9C-320E9D8687FF}"/>
          </ac:spMkLst>
        </pc:spChg>
        <pc:spChg chg="mod">
          <ac:chgData name="Thotakura, Ashok" userId="8def16fa-05a4-42f6-9097-35114c55c601" providerId="ADAL" clId="{8704C1DE-0D16-47A5-8CAE-92B3EE058A93}" dt="2021-06-09T12:29:42.728" v="1378" actId="20577"/>
          <ac:spMkLst>
            <pc:docMk/>
            <pc:sldMk cId="2850370611" sldId="789"/>
            <ac:spMk id="22" creationId="{AC7045C9-4BF0-9F4B-9B7E-75735935D9A1}"/>
          </ac:spMkLst>
        </pc:spChg>
        <pc:spChg chg="mod">
          <ac:chgData name="Thotakura, Ashok" userId="8def16fa-05a4-42f6-9097-35114c55c601" providerId="ADAL" clId="{8704C1DE-0D16-47A5-8CAE-92B3EE058A93}" dt="2021-06-09T12:29:21.998" v="1374" actId="20577"/>
          <ac:spMkLst>
            <pc:docMk/>
            <pc:sldMk cId="2850370611" sldId="789"/>
            <ac:spMk id="23" creationId="{2F84A3F3-1D6F-1444-86D2-9CCD44F8E2E7}"/>
          </ac:spMkLst>
        </pc:spChg>
        <pc:spChg chg="mod">
          <ac:chgData name="Thotakura, Ashok" userId="8def16fa-05a4-42f6-9097-35114c55c601" providerId="ADAL" clId="{8704C1DE-0D16-47A5-8CAE-92B3EE058A93}" dt="2021-06-09T12:30:44.875" v="1410" actId="20577"/>
          <ac:spMkLst>
            <pc:docMk/>
            <pc:sldMk cId="2850370611" sldId="789"/>
            <ac:spMk id="24" creationId="{B48D52B8-0DE5-F040-B76D-05746C17CFA8}"/>
          </ac:spMkLst>
        </pc:spChg>
        <pc:spChg chg="mod">
          <ac:chgData name="Thotakura, Ashok" userId="8def16fa-05a4-42f6-9097-35114c55c601" providerId="ADAL" clId="{8704C1DE-0D16-47A5-8CAE-92B3EE058A93}" dt="2021-06-09T12:29:54.185" v="1387" actId="20577"/>
          <ac:spMkLst>
            <pc:docMk/>
            <pc:sldMk cId="2850370611" sldId="789"/>
            <ac:spMk id="25" creationId="{2A0BE2C1-62DA-FD4C-80E4-09675D8F526E}"/>
          </ac:spMkLst>
        </pc:spChg>
        <pc:spChg chg="mod">
          <ac:chgData name="Thotakura, Ashok" userId="8def16fa-05a4-42f6-9097-35114c55c601" providerId="ADAL" clId="{8704C1DE-0D16-47A5-8CAE-92B3EE058A93}" dt="2021-06-09T12:28:51.920" v="1338" actId="20577"/>
          <ac:spMkLst>
            <pc:docMk/>
            <pc:sldMk cId="2850370611" sldId="789"/>
            <ac:spMk id="26" creationId="{B202DE11-7392-5247-8ACB-8467E5D31224}"/>
          </ac:spMkLst>
        </pc:spChg>
        <pc:spChg chg="mod">
          <ac:chgData name="Thotakura, Ashok" userId="8def16fa-05a4-42f6-9097-35114c55c601" providerId="ADAL" clId="{8704C1DE-0D16-47A5-8CAE-92B3EE058A93}" dt="2021-06-09T12:29:35.526" v="1375" actId="1076"/>
          <ac:spMkLst>
            <pc:docMk/>
            <pc:sldMk cId="2850370611" sldId="789"/>
            <ac:spMk id="27" creationId="{F6116714-E8F0-274F-87EA-2DB3CAA3A721}"/>
          </ac:spMkLst>
        </pc:spChg>
        <pc:spChg chg="mod">
          <ac:chgData name="Thotakura, Ashok" userId="8def16fa-05a4-42f6-9097-35114c55c601" providerId="ADAL" clId="{8704C1DE-0D16-47A5-8CAE-92B3EE058A93}" dt="2021-06-09T12:28:33.464" v="1304" actId="20577"/>
          <ac:spMkLst>
            <pc:docMk/>
            <pc:sldMk cId="2850370611" sldId="789"/>
            <ac:spMk id="28" creationId="{2A519AE8-8FE2-B74F-9326-C40DCA1CC8C4}"/>
          </ac:spMkLst>
        </pc:spChg>
        <pc:spChg chg="mod">
          <ac:chgData name="Thotakura, Ashok" userId="8def16fa-05a4-42f6-9097-35114c55c601" providerId="ADAL" clId="{8704C1DE-0D16-47A5-8CAE-92B3EE058A93}" dt="2021-06-09T13:26:26.528" v="1736" actId="20577"/>
          <ac:spMkLst>
            <pc:docMk/>
            <pc:sldMk cId="2850370611" sldId="789"/>
            <ac:spMk id="29" creationId="{AA1375DF-CB8D-2A4D-96B9-CD3FCB08CE4F}"/>
          </ac:spMkLst>
        </pc:spChg>
        <pc:spChg chg="del mod">
          <ac:chgData name="Thotakura, Ashok" userId="8def16fa-05a4-42f6-9097-35114c55c601" providerId="ADAL" clId="{8704C1DE-0D16-47A5-8CAE-92B3EE058A93}" dt="2021-06-14T07:32:07.621" v="2989" actId="478"/>
          <ac:spMkLst>
            <pc:docMk/>
            <pc:sldMk cId="2850370611" sldId="789"/>
            <ac:spMk id="30" creationId="{566129F7-0A74-8742-B463-BC318B31C36E}"/>
          </ac:spMkLst>
        </pc:spChg>
        <pc:spChg chg="mod">
          <ac:chgData name="Thotakura, Ashok" userId="8def16fa-05a4-42f6-9097-35114c55c601" providerId="ADAL" clId="{8704C1DE-0D16-47A5-8CAE-92B3EE058A93}" dt="2021-06-14T07:51:40.260" v="3111" actId="20577"/>
          <ac:spMkLst>
            <pc:docMk/>
            <pc:sldMk cId="2850370611" sldId="789"/>
            <ac:spMk id="33" creationId="{A580D5CB-165C-5D4B-A5E1-3F65298917BD}"/>
          </ac:spMkLst>
        </pc:spChg>
        <pc:spChg chg="del">
          <ac:chgData name="Thotakura, Ashok" userId="8def16fa-05a4-42f6-9097-35114c55c601" providerId="ADAL" clId="{8704C1DE-0D16-47A5-8CAE-92B3EE058A93}" dt="2021-06-09T12:28:22.770" v="1300" actId="478"/>
          <ac:spMkLst>
            <pc:docMk/>
            <pc:sldMk cId="2850370611" sldId="789"/>
            <ac:spMk id="35" creationId="{1CA7D69D-38FB-4C64-928D-C1F7E2E67223}"/>
          </ac:spMkLst>
        </pc:spChg>
        <pc:spChg chg="add del mod">
          <ac:chgData name="Thotakura, Ashok" userId="8def16fa-05a4-42f6-9097-35114c55c601" providerId="ADAL" clId="{8704C1DE-0D16-47A5-8CAE-92B3EE058A93}" dt="2021-06-09T12:28:19.425" v="1298" actId="478"/>
          <ac:spMkLst>
            <pc:docMk/>
            <pc:sldMk cId="2850370611" sldId="789"/>
            <ac:spMk id="36" creationId="{19E25B83-13DB-4277-9E81-9FF9D08C325C}"/>
          </ac:spMkLst>
        </pc:spChg>
        <pc:spChg chg="add mod">
          <ac:chgData name="Thotakura, Ashok" userId="8def16fa-05a4-42f6-9097-35114c55c601" providerId="ADAL" clId="{8704C1DE-0D16-47A5-8CAE-92B3EE058A93}" dt="2021-06-14T09:08:49.414" v="3741" actId="1076"/>
          <ac:spMkLst>
            <pc:docMk/>
            <pc:sldMk cId="2850370611" sldId="789"/>
            <ac:spMk id="37" creationId="{3FE9136F-8456-43B4-A00B-E2CED56DD9D9}"/>
          </ac:spMkLst>
        </pc:spChg>
        <pc:spChg chg="add del mod">
          <ac:chgData name="Thotakura, Ashok" userId="8def16fa-05a4-42f6-9097-35114c55c601" providerId="ADAL" clId="{8704C1DE-0D16-47A5-8CAE-92B3EE058A93}" dt="2021-06-14T07:17:52.476" v="2877" actId="478"/>
          <ac:spMkLst>
            <pc:docMk/>
            <pc:sldMk cId="2850370611" sldId="789"/>
            <ac:spMk id="39" creationId="{ACB6BECD-884A-4916-8013-826835B36C29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45" creationId="{A962D463-E32D-4C5E-89D2-EB8C6AB6E0EA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46" creationId="{CDFA3D51-BE5C-4D1A-BB40-86CC89D2BB86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47" creationId="{109985E5-0A2C-4098-8058-F3B80581A179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48" creationId="{249BB28D-A262-4C5F-9064-E2319E47B309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49" creationId="{4F6DBDF8-E407-477E-AA64-0CFC24255ABD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50" creationId="{7BB03AD3-B5B7-4CA3-8F02-614023477123}"/>
          </ac:spMkLst>
        </pc:spChg>
        <pc:spChg chg="mod">
          <ac:chgData name="Thotakura, Ashok" userId="8def16fa-05a4-42f6-9097-35114c55c601" providerId="ADAL" clId="{8704C1DE-0D16-47A5-8CAE-92B3EE058A93}" dt="2021-06-14T07:18:05.169" v="2879" actId="13822"/>
          <ac:spMkLst>
            <pc:docMk/>
            <pc:sldMk cId="2850370611" sldId="789"/>
            <ac:spMk id="51" creationId="{873623EB-08D2-4697-98CC-2A7324370F51}"/>
          </ac:spMkLst>
        </pc:spChg>
        <pc:spChg chg="add del mod">
          <ac:chgData name="Thotakura, Ashok" userId="8def16fa-05a4-42f6-9097-35114c55c601" providerId="ADAL" clId="{8704C1DE-0D16-47A5-8CAE-92B3EE058A93}" dt="2021-06-14T07:20:55.416" v="2891" actId="478"/>
          <ac:spMkLst>
            <pc:docMk/>
            <pc:sldMk cId="2850370611" sldId="789"/>
            <ac:spMk id="52" creationId="{4B7090AD-D687-44E2-A5A0-154070A5526A}"/>
          </ac:spMkLst>
        </pc:spChg>
        <pc:spChg chg="add del mod">
          <ac:chgData name="Thotakura, Ashok" userId="8def16fa-05a4-42f6-9097-35114c55c601" providerId="ADAL" clId="{8704C1DE-0D16-47A5-8CAE-92B3EE058A93}" dt="2021-06-14T07:20:55.416" v="2891" actId="478"/>
          <ac:spMkLst>
            <pc:docMk/>
            <pc:sldMk cId="2850370611" sldId="789"/>
            <ac:spMk id="53" creationId="{78D4ABAB-9FAF-4854-A416-559F678F8164}"/>
          </ac:spMkLst>
        </pc:spChg>
        <pc:spChg chg="add mod">
          <ac:chgData name="Thotakura, Ashok" userId="8def16fa-05a4-42f6-9097-35114c55c601" providerId="ADAL" clId="{8704C1DE-0D16-47A5-8CAE-92B3EE058A93}" dt="2021-06-14T07:32:26.173" v="3051" actId="1038"/>
          <ac:spMkLst>
            <pc:docMk/>
            <pc:sldMk cId="2850370611" sldId="789"/>
            <ac:spMk id="54" creationId="{D4F0F96C-4F12-4DEA-BA75-540B507227BC}"/>
          </ac:spMkLst>
        </pc:spChg>
        <pc:spChg chg="add del mod">
          <ac:chgData name="Thotakura, Ashok" userId="8def16fa-05a4-42f6-9097-35114c55c601" providerId="ADAL" clId="{8704C1DE-0D16-47A5-8CAE-92B3EE058A93}" dt="2021-06-14T07:27:26.896" v="2896"/>
          <ac:spMkLst>
            <pc:docMk/>
            <pc:sldMk cId="2850370611" sldId="789"/>
            <ac:spMk id="55" creationId="{90D9AFC8-7D1C-438C-92BD-5BF7ECEFD60A}"/>
          </ac:spMkLst>
        </pc:spChg>
        <pc:spChg chg="add mod">
          <ac:chgData name="Thotakura, Ashok" userId="8def16fa-05a4-42f6-9097-35114c55c601" providerId="ADAL" clId="{8704C1DE-0D16-47A5-8CAE-92B3EE058A93}" dt="2021-06-14T11:53:43.445" v="4171" actId="20577"/>
          <ac:spMkLst>
            <pc:docMk/>
            <pc:sldMk cId="2850370611" sldId="789"/>
            <ac:spMk id="56" creationId="{461EEB56-AABA-4C98-8E71-A0ED037891FC}"/>
          </ac:spMkLst>
        </pc:spChg>
        <pc:spChg chg="add del mod">
          <ac:chgData name="Thotakura, Ashok" userId="8def16fa-05a4-42f6-9097-35114c55c601" providerId="ADAL" clId="{8704C1DE-0D16-47A5-8CAE-92B3EE058A93}" dt="2021-06-14T07:28:59.793" v="2917" actId="478"/>
          <ac:spMkLst>
            <pc:docMk/>
            <pc:sldMk cId="2850370611" sldId="789"/>
            <ac:spMk id="57" creationId="{2F7CF8E8-FDF2-4A44-AEFA-7F82F5776AB7}"/>
          </ac:spMkLst>
        </pc:spChg>
        <pc:spChg chg="add del mod">
          <ac:chgData name="Thotakura, Ashok" userId="8def16fa-05a4-42f6-9097-35114c55c601" providerId="ADAL" clId="{8704C1DE-0D16-47A5-8CAE-92B3EE058A93}" dt="2021-06-14T07:30:14.767" v="2919"/>
          <ac:spMkLst>
            <pc:docMk/>
            <pc:sldMk cId="2850370611" sldId="789"/>
            <ac:spMk id="58" creationId="{E49229A9-8C1D-42FB-B42D-A2985E56AC0F}"/>
          </ac:spMkLst>
        </pc:spChg>
        <pc:spChg chg="add mod">
          <ac:chgData name="Thotakura, Ashok" userId="8def16fa-05a4-42f6-9097-35114c55c601" providerId="ADAL" clId="{8704C1DE-0D16-47A5-8CAE-92B3EE058A93}" dt="2021-06-14T11:53:46.059" v="4172" actId="20577"/>
          <ac:spMkLst>
            <pc:docMk/>
            <pc:sldMk cId="2850370611" sldId="789"/>
            <ac:spMk id="59" creationId="{6693AC57-9E6E-4666-B040-2A30D5DC7B3B}"/>
          </ac:spMkLst>
        </pc:spChg>
        <pc:spChg chg="add mod">
          <ac:chgData name="Thotakura, Ashok" userId="8def16fa-05a4-42f6-9097-35114c55c601" providerId="ADAL" clId="{8704C1DE-0D16-47A5-8CAE-92B3EE058A93}" dt="2021-06-14T07:55:30.322" v="3165" actId="1038"/>
          <ac:spMkLst>
            <pc:docMk/>
            <pc:sldMk cId="2850370611" sldId="789"/>
            <ac:spMk id="60" creationId="{199F0238-2800-412A-8F65-9EA220BE9D68}"/>
          </ac:spMkLst>
        </pc:spChg>
        <pc:spChg chg="add mod">
          <ac:chgData name="Thotakura, Ashok" userId="8def16fa-05a4-42f6-9097-35114c55c601" providerId="ADAL" clId="{8704C1DE-0D16-47A5-8CAE-92B3EE058A93}" dt="2021-06-14T10:04:27.316" v="4022" actId="20577"/>
          <ac:spMkLst>
            <pc:docMk/>
            <pc:sldMk cId="2850370611" sldId="789"/>
            <ac:spMk id="61" creationId="{6C22609A-B448-4838-993C-90887C0D1236}"/>
          </ac:spMkLst>
        </pc:spChg>
        <pc:spChg chg="add mod">
          <ac:chgData name="Thotakura, Ashok" userId="8def16fa-05a4-42f6-9097-35114c55c601" providerId="ADAL" clId="{8704C1DE-0D16-47A5-8CAE-92B3EE058A93}" dt="2021-06-14T10:04:23.481" v="4021" actId="20577"/>
          <ac:spMkLst>
            <pc:docMk/>
            <pc:sldMk cId="2850370611" sldId="789"/>
            <ac:spMk id="62" creationId="{1676BC0C-EBEC-48E1-901E-87AA7C952092}"/>
          </ac:spMkLst>
        </pc:spChg>
        <pc:spChg chg="add del mod">
          <ac:chgData name="Thotakura, Ashok" userId="8def16fa-05a4-42f6-9097-35114c55c601" providerId="ADAL" clId="{8704C1DE-0D16-47A5-8CAE-92B3EE058A93}" dt="2021-06-14T07:32:13.376" v="2990" actId="478"/>
          <ac:spMkLst>
            <pc:docMk/>
            <pc:sldMk cId="2850370611" sldId="789"/>
            <ac:spMk id="63" creationId="{87AFAC07-C8EC-4887-890B-DE3E0A33E973}"/>
          </ac:spMkLst>
        </pc:spChg>
        <pc:spChg chg="add del mod">
          <ac:chgData name="Thotakura, Ashok" userId="8def16fa-05a4-42f6-9097-35114c55c601" providerId="ADAL" clId="{8704C1DE-0D16-47A5-8CAE-92B3EE058A93}" dt="2021-06-14T07:32:13.376" v="2990" actId="478"/>
          <ac:spMkLst>
            <pc:docMk/>
            <pc:sldMk cId="2850370611" sldId="789"/>
            <ac:spMk id="64" creationId="{053E9E0B-5A82-456C-B290-AFB4B6552309}"/>
          </ac:spMkLst>
        </pc:spChg>
        <pc:spChg chg="add del mod">
          <ac:chgData name="Thotakura, Ashok" userId="8def16fa-05a4-42f6-9097-35114c55c601" providerId="ADAL" clId="{8704C1DE-0D16-47A5-8CAE-92B3EE058A93}" dt="2021-06-14T07:32:13.376" v="2990" actId="478"/>
          <ac:spMkLst>
            <pc:docMk/>
            <pc:sldMk cId="2850370611" sldId="789"/>
            <ac:spMk id="65" creationId="{AD9AEB2C-7079-4CF8-BC24-B9BD06BBF93D}"/>
          </ac:spMkLst>
        </pc:spChg>
        <pc:spChg chg="add del mod">
          <ac:chgData name="Thotakura, Ashok" userId="8def16fa-05a4-42f6-9097-35114c55c601" providerId="ADAL" clId="{8704C1DE-0D16-47A5-8CAE-92B3EE058A93}" dt="2021-06-14T07:52:10.096" v="3113"/>
          <ac:spMkLst>
            <pc:docMk/>
            <pc:sldMk cId="2850370611" sldId="789"/>
            <ac:spMk id="66" creationId="{EAC24B00-A1B4-4734-81DC-42C055BDA0BE}"/>
          </ac:spMkLst>
        </pc:spChg>
        <pc:spChg chg="add del mod">
          <ac:chgData name="Thotakura, Ashok" userId="8def16fa-05a4-42f6-9097-35114c55c601" providerId="ADAL" clId="{8704C1DE-0D16-47A5-8CAE-92B3EE058A93}" dt="2021-06-14T07:52:10.096" v="3113"/>
          <ac:spMkLst>
            <pc:docMk/>
            <pc:sldMk cId="2850370611" sldId="789"/>
            <ac:spMk id="67" creationId="{99DF9A66-956B-4ECA-9D14-CAA6341A1FAB}"/>
          </ac:spMkLst>
        </pc:spChg>
        <pc:spChg chg="add mod ord">
          <ac:chgData name="Thotakura, Ashok" userId="8def16fa-05a4-42f6-9097-35114c55c601" providerId="ADAL" clId="{8704C1DE-0D16-47A5-8CAE-92B3EE058A93}" dt="2021-06-14T11:53:40.687" v="4170" actId="167"/>
          <ac:spMkLst>
            <pc:docMk/>
            <pc:sldMk cId="2850370611" sldId="789"/>
            <ac:spMk id="68" creationId="{74A71107-4E6D-4DF6-8B02-27787041BAB9}"/>
          </ac:spMkLst>
        </pc:spChg>
        <pc:spChg chg="add mod">
          <ac:chgData name="Thotakura, Ashok" userId="8def16fa-05a4-42f6-9097-35114c55c601" providerId="ADAL" clId="{8704C1DE-0D16-47A5-8CAE-92B3EE058A93}" dt="2021-06-14T08:59:18.280" v="3503" actId="20577"/>
          <ac:spMkLst>
            <pc:docMk/>
            <pc:sldMk cId="2850370611" sldId="789"/>
            <ac:spMk id="69" creationId="{FFDB8A1C-3DE7-4791-B5E8-FD317E215B8F}"/>
          </ac:spMkLst>
        </pc:spChg>
        <pc:spChg chg="add mod ord">
          <ac:chgData name="Thotakura, Ashok" userId="8def16fa-05a4-42f6-9097-35114c55c601" providerId="ADAL" clId="{8704C1DE-0D16-47A5-8CAE-92B3EE058A93}" dt="2021-06-14T11:53:49.975" v="4173" actId="167"/>
          <ac:spMkLst>
            <pc:docMk/>
            <pc:sldMk cId="2850370611" sldId="789"/>
            <ac:spMk id="70" creationId="{700AAB8B-E046-4411-AE7B-E16F77ACB681}"/>
          </ac:spMkLst>
        </pc:spChg>
        <pc:spChg chg="add mod">
          <ac:chgData name="Thotakura, Ashok" userId="8def16fa-05a4-42f6-9097-35114c55c601" providerId="ADAL" clId="{8704C1DE-0D16-47A5-8CAE-92B3EE058A93}" dt="2021-06-14T10:46:51.547" v="4144" actId="20577"/>
          <ac:spMkLst>
            <pc:docMk/>
            <pc:sldMk cId="2850370611" sldId="789"/>
            <ac:spMk id="71" creationId="{8CA7F954-8F69-4040-9A3E-102582356725}"/>
          </ac:spMkLst>
        </pc:spChg>
        <pc:spChg chg="add del mod">
          <ac:chgData name="Thotakura, Ashok" userId="8def16fa-05a4-42f6-9097-35114c55c601" providerId="ADAL" clId="{8704C1DE-0D16-47A5-8CAE-92B3EE058A93}" dt="2021-06-14T10:07:09.981" v="4045" actId="478"/>
          <ac:spMkLst>
            <pc:docMk/>
            <pc:sldMk cId="2850370611" sldId="789"/>
            <ac:spMk id="72" creationId="{68BA32AA-2056-4C1E-920D-2663B330BAC7}"/>
          </ac:spMkLst>
        </pc:spChg>
        <pc:spChg chg="add del mod">
          <ac:chgData name="Thotakura, Ashok" userId="8def16fa-05a4-42f6-9097-35114c55c601" providerId="ADAL" clId="{8704C1DE-0D16-47A5-8CAE-92B3EE058A93}" dt="2021-06-14T10:06:17.502" v="4027"/>
          <ac:spMkLst>
            <pc:docMk/>
            <pc:sldMk cId="2850370611" sldId="789"/>
            <ac:spMk id="73" creationId="{359442F7-BDA2-42C3-9384-5450F1C00443}"/>
          </ac:spMkLst>
        </pc:spChg>
        <pc:spChg chg="add del mod">
          <ac:chgData name="Thotakura, Ashok" userId="8def16fa-05a4-42f6-9097-35114c55c601" providerId="ADAL" clId="{8704C1DE-0D16-47A5-8CAE-92B3EE058A93}" dt="2021-06-14T10:06:17.502" v="4027"/>
          <ac:spMkLst>
            <pc:docMk/>
            <pc:sldMk cId="2850370611" sldId="789"/>
            <ac:spMk id="74" creationId="{BB5BB0C1-6065-4280-AE00-A6577C39D151}"/>
          </ac:spMkLst>
        </pc:spChg>
        <pc:spChg chg="add del mod">
          <ac:chgData name="Thotakura, Ashok" userId="8def16fa-05a4-42f6-9097-35114c55c601" providerId="ADAL" clId="{8704C1DE-0D16-47A5-8CAE-92B3EE058A93}" dt="2021-06-14T10:06:17.502" v="4027"/>
          <ac:spMkLst>
            <pc:docMk/>
            <pc:sldMk cId="2850370611" sldId="789"/>
            <ac:spMk id="75" creationId="{F4C1826A-3EB4-4A82-AE2F-031F4223EF53}"/>
          </ac:spMkLst>
        </pc:spChg>
        <pc:spChg chg="add del mod">
          <ac:chgData name="Thotakura, Ashok" userId="8def16fa-05a4-42f6-9097-35114c55c601" providerId="ADAL" clId="{8704C1DE-0D16-47A5-8CAE-92B3EE058A93}" dt="2021-06-14T10:07:28.615" v="4066" actId="20577"/>
          <ac:spMkLst>
            <pc:docMk/>
            <pc:sldMk cId="2850370611" sldId="789"/>
            <ac:spMk id="76" creationId="{E662870A-AED1-4327-9A85-F43143A81A10}"/>
          </ac:spMkLst>
        </pc:spChg>
        <pc:spChg chg="add mod">
          <ac:chgData name="Thotakura, Ashok" userId="8def16fa-05a4-42f6-9097-35114c55c601" providerId="ADAL" clId="{8704C1DE-0D16-47A5-8CAE-92B3EE058A93}" dt="2021-06-14T10:07:21.509" v="4060" actId="20577"/>
          <ac:spMkLst>
            <pc:docMk/>
            <pc:sldMk cId="2850370611" sldId="789"/>
            <ac:spMk id="78" creationId="{D6BD1B90-5481-4D5C-A41A-4405F8FA9102}"/>
          </ac:spMkLst>
        </pc:spChg>
        <pc:grpChg chg="add del mod">
          <ac:chgData name="Thotakura, Ashok" userId="8def16fa-05a4-42f6-9097-35114c55c601" providerId="ADAL" clId="{8704C1DE-0D16-47A5-8CAE-92B3EE058A93}" dt="2021-06-14T07:20:34.818" v="2886" actId="478"/>
          <ac:grpSpMkLst>
            <pc:docMk/>
            <pc:sldMk cId="2850370611" sldId="789"/>
            <ac:grpSpMk id="44" creationId="{2C56EBCB-3335-430F-892C-6B7A9139B95C}"/>
          </ac:grpSpMkLst>
        </pc:grpChg>
        <pc:inkChg chg="add del">
          <ac:chgData name="Thotakura, Ashok" userId="8def16fa-05a4-42f6-9097-35114c55c601" providerId="ADAL" clId="{8704C1DE-0D16-47A5-8CAE-92B3EE058A93}" dt="2021-06-14T07:15:06.008" v="2861" actId="9405"/>
          <ac:inkMkLst>
            <pc:docMk/>
            <pc:sldMk cId="2850370611" sldId="789"/>
            <ac:inkMk id="38" creationId="{9B5C9B5E-5CC3-412D-8E08-F7A6F4686F82}"/>
          </ac:inkMkLst>
        </pc:inkChg>
        <pc:cxnChg chg="add del mod">
          <ac:chgData name="Thotakura, Ashok" userId="8def16fa-05a4-42f6-9097-35114c55c601" providerId="ADAL" clId="{8704C1DE-0D16-47A5-8CAE-92B3EE058A93}" dt="2021-06-14T07:16:55.906" v="2870"/>
          <ac:cxnSpMkLst>
            <pc:docMk/>
            <pc:sldMk cId="2850370611" sldId="789"/>
            <ac:cxnSpMk id="40" creationId="{157AC3FF-6462-42D0-B420-D117BF0DAF66}"/>
          </ac:cxnSpMkLst>
        </pc:cxnChg>
        <pc:cxnChg chg="add del mod">
          <ac:chgData name="Thotakura, Ashok" userId="8def16fa-05a4-42f6-9097-35114c55c601" providerId="ADAL" clId="{8704C1DE-0D16-47A5-8CAE-92B3EE058A93}" dt="2021-06-14T07:16:58.848" v="2872"/>
          <ac:cxnSpMkLst>
            <pc:docMk/>
            <pc:sldMk cId="2850370611" sldId="789"/>
            <ac:cxnSpMk id="41" creationId="{76986A6D-178A-443C-BC33-BA15217102B4}"/>
          </ac:cxnSpMkLst>
        </pc:cxnChg>
        <pc:cxnChg chg="add del mod">
          <ac:chgData name="Thotakura, Ashok" userId="8def16fa-05a4-42f6-9097-35114c55c601" providerId="ADAL" clId="{8704C1DE-0D16-47A5-8CAE-92B3EE058A93}" dt="2021-06-14T07:18:13.218" v="2881" actId="478"/>
          <ac:cxnSpMkLst>
            <pc:docMk/>
            <pc:sldMk cId="2850370611" sldId="789"/>
            <ac:cxnSpMk id="42" creationId="{FFB5DF51-6786-4A32-BEDA-82B90A33E1CA}"/>
          </ac:cxnSpMkLst>
        </pc:cxnChg>
        <pc:cxnChg chg="add del mod">
          <ac:chgData name="Thotakura, Ashok" userId="8def16fa-05a4-42f6-9097-35114c55c601" providerId="ADAL" clId="{8704C1DE-0D16-47A5-8CAE-92B3EE058A93}" dt="2021-06-14T10:07:07.325" v="4044" actId="21"/>
          <ac:cxnSpMkLst>
            <pc:docMk/>
            <pc:sldMk cId="2850370611" sldId="789"/>
            <ac:cxnSpMk id="77" creationId="{96A03273-E723-4840-8367-24D51B402F1F}"/>
          </ac:cxnSpMkLst>
        </pc:cxnChg>
        <pc:cxnChg chg="add mod">
          <ac:chgData name="Thotakura, Ashok" userId="8def16fa-05a4-42f6-9097-35114c55c601" providerId="ADAL" clId="{8704C1DE-0D16-47A5-8CAE-92B3EE058A93}" dt="2021-06-14T10:07:16.636" v="4047" actId="1076"/>
          <ac:cxnSpMkLst>
            <pc:docMk/>
            <pc:sldMk cId="2850370611" sldId="789"/>
            <ac:cxnSpMk id="79" creationId="{142BC276-5070-4500-8166-EF78E5823626}"/>
          </ac:cxnSpMkLst>
        </pc:cxnChg>
      </pc:sldChg>
      <pc:sldChg chg="addSp delSp modSp add mod ord">
        <pc:chgData name="Thotakura, Ashok" userId="8def16fa-05a4-42f6-9097-35114c55c601" providerId="ADAL" clId="{8704C1DE-0D16-47A5-8CAE-92B3EE058A93}" dt="2021-06-11T11:39:10.681" v="2404"/>
        <pc:sldMkLst>
          <pc:docMk/>
          <pc:sldMk cId="307580970" sldId="790"/>
        </pc:sldMkLst>
        <pc:spChg chg="del">
          <ac:chgData name="Thotakura, Ashok" userId="8def16fa-05a4-42f6-9097-35114c55c601" providerId="ADAL" clId="{8704C1DE-0D16-47A5-8CAE-92B3EE058A93}" dt="2021-06-09T13:29:37.100" v="1741" actId="478"/>
          <ac:spMkLst>
            <pc:docMk/>
            <pc:sldMk cId="307580970" sldId="790"/>
            <ac:spMk id="2" creationId="{B9C251D7-CF59-43C5-B64C-64862BE5A9FA}"/>
          </ac:spMkLst>
        </pc:spChg>
        <pc:spChg chg="add del mod">
          <ac:chgData name="Thotakura, Ashok" userId="8def16fa-05a4-42f6-9097-35114c55c601" providerId="ADAL" clId="{8704C1DE-0D16-47A5-8CAE-92B3EE058A93}" dt="2021-06-09T13:29:40.257" v="1742" actId="478"/>
          <ac:spMkLst>
            <pc:docMk/>
            <pc:sldMk cId="307580970" sldId="790"/>
            <ac:spMk id="4" creationId="{998DC6D0-0863-411B-885C-A83BD4EAB37E}"/>
          </ac:spMkLst>
        </pc:spChg>
        <pc:spChg chg="mod">
          <ac:chgData name="Thotakura, Ashok" userId="8def16fa-05a4-42f6-9097-35114c55c601" providerId="ADAL" clId="{8704C1DE-0D16-47A5-8CAE-92B3EE058A93}" dt="2021-06-09T13:30:14.077" v="1776" actId="20577"/>
          <ac:spMkLst>
            <pc:docMk/>
            <pc:sldMk cId="307580970" sldId="790"/>
            <ac:spMk id="8" creationId="{7C1CB2F8-24E8-44F0-8695-757F381190F9}"/>
          </ac:spMkLst>
        </pc:spChg>
        <pc:spChg chg="mod">
          <ac:chgData name="Thotakura, Ashok" userId="8def16fa-05a4-42f6-9097-35114c55c601" providerId="ADAL" clId="{8704C1DE-0D16-47A5-8CAE-92B3EE058A93}" dt="2021-06-09T13:31:56.592" v="1875" actId="20577"/>
          <ac:spMkLst>
            <pc:docMk/>
            <pc:sldMk cId="307580970" sldId="790"/>
            <ac:spMk id="11" creationId="{55CD4FE1-2C22-4A6D-AB7F-3BC3F74F6BC6}"/>
          </ac:spMkLst>
        </pc:spChg>
        <pc:spChg chg="mod">
          <ac:chgData name="Thotakura, Ashok" userId="8def16fa-05a4-42f6-9097-35114c55c601" providerId="ADAL" clId="{8704C1DE-0D16-47A5-8CAE-92B3EE058A93}" dt="2021-06-09T13:30:31.041" v="1801" actId="20577"/>
          <ac:spMkLst>
            <pc:docMk/>
            <pc:sldMk cId="307580970" sldId="790"/>
            <ac:spMk id="13" creationId="{62600402-EF1F-48E7-8B36-5F84FC3D10E9}"/>
          </ac:spMkLst>
        </pc:spChg>
        <pc:spChg chg="mod">
          <ac:chgData name="Thotakura, Ashok" userId="8def16fa-05a4-42f6-9097-35114c55c601" providerId="ADAL" clId="{8704C1DE-0D16-47A5-8CAE-92B3EE058A93}" dt="2021-06-09T13:31:05.521" v="1838" actId="20577"/>
          <ac:spMkLst>
            <pc:docMk/>
            <pc:sldMk cId="307580970" sldId="790"/>
            <ac:spMk id="15" creationId="{A4431FBD-E49B-404E-BDF7-F77774A2A2EB}"/>
          </ac:spMkLst>
        </pc:spChg>
        <pc:spChg chg="del">
          <ac:chgData name="Thotakura, Ashok" userId="8def16fa-05a4-42f6-9097-35114c55c601" providerId="ADAL" clId="{8704C1DE-0D16-47A5-8CAE-92B3EE058A93}" dt="2021-06-09T13:29:47.643" v="1744" actId="478"/>
          <ac:spMkLst>
            <pc:docMk/>
            <pc:sldMk cId="307580970" sldId="790"/>
            <ac:spMk id="16" creationId="{E31DEAC6-28B1-43EF-8F30-DAA4FD02F415}"/>
          </ac:spMkLst>
        </pc:spChg>
        <pc:spChg chg="add mod">
          <ac:chgData name="Thotakura, Ashok" userId="8def16fa-05a4-42f6-9097-35114c55c601" providerId="ADAL" clId="{8704C1DE-0D16-47A5-8CAE-92B3EE058A93}" dt="2021-06-09T13:29:41.604" v="1743"/>
          <ac:spMkLst>
            <pc:docMk/>
            <pc:sldMk cId="307580970" sldId="790"/>
            <ac:spMk id="17" creationId="{DD6DE4E3-FB99-4FE9-9272-6B5AB3C6FD52}"/>
          </ac:spMkLst>
        </pc:spChg>
      </pc:sldChg>
      <pc:sldChg chg="addSp delSp modSp add mod ord">
        <pc:chgData name="Thotakura, Ashok" userId="8def16fa-05a4-42f6-9097-35114c55c601" providerId="ADAL" clId="{8704C1DE-0D16-47A5-8CAE-92B3EE058A93}" dt="2021-06-14T11:51:32.820" v="4158"/>
        <pc:sldMkLst>
          <pc:docMk/>
          <pc:sldMk cId="1756145846" sldId="791"/>
        </pc:sldMkLst>
        <pc:spChg chg="mod">
          <ac:chgData name="Thotakura, Ashok" userId="8def16fa-05a4-42f6-9097-35114c55c601" providerId="ADAL" clId="{8704C1DE-0D16-47A5-8CAE-92B3EE058A93}" dt="2021-06-14T07:12:58.105" v="2834" actId="20577"/>
          <ac:spMkLst>
            <pc:docMk/>
            <pc:sldMk cId="1756145846" sldId="791"/>
            <ac:spMk id="16" creationId="{2C1F93CD-E5D8-E946-BC04-EB789263D3AD}"/>
          </ac:spMkLst>
        </pc:spChg>
        <pc:spChg chg="mod">
          <ac:chgData name="Thotakura, Ashok" userId="8def16fa-05a4-42f6-9097-35114c55c601" providerId="ADAL" clId="{8704C1DE-0D16-47A5-8CAE-92B3EE058A93}" dt="2021-06-14T09:51:54.616" v="3955" actId="20577"/>
          <ac:spMkLst>
            <pc:docMk/>
            <pc:sldMk cId="1756145846" sldId="791"/>
            <ac:spMk id="17" creationId="{3C92380F-CD14-0849-A9F8-108A7C9FFCD8}"/>
          </ac:spMkLst>
        </pc:spChg>
        <pc:spChg chg="mod">
          <ac:chgData name="Thotakura, Ashok" userId="8def16fa-05a4-42f6-9097-35114c55c601" providerId="ADAL" clId="{8704C1DE-0D16-47A5-8CAE-92B3EE058A93}" dt="2021-06-14T10:15:13.834" v="4100" actId="1076"/>
          <ac:spMkLst>
            <pc:docMk/>
            <pc:sldMk cId="1756145846" sldId="791"/>
            <ac:spMk id="18" creationId="{90793AD6-E764-EE4F-A440-D4B6B2C857B2}"/>
          </ac:spMkLst>
        </pc:spChg>
        <pc:spChg chg="mod">
          <ac:chgData name="Thotakura, Ashok" userId="8def16fa-05a4-42f6-9097-35114c55c601" providerId="ADAL" clId="{8704C1DE-0D16-47A5-8CAE-92B3EE058A93}" dt="2021-06-14T11:50:30.502" v="4156" actId="404"/>
          <ac:spMkLst>
            <pc:docMk/>
            <pc:sldMk cId="1756145846" sldId="791"/>
            <ac:spMk id="19" creationId="{32D2877B-F8C9-A24F-9DCF-E43264AA8E6B}"/>
          </ac:spMkLst>
        </pc:spChg>
        <pc:spChg chg="del">
          <ac:chgData name="Thotakura, Ashok" userId="8def16fa-05a4-42f6-9097-35114c55c601" providerId="ADAL" clId="{8704C1DE-0D16-47A5-8CAE-92B3EE058A93}" dt="2021-06-11T11:05:24.513" v="2238" actId="478"/>
          <ac:spMkLst>
            <pc:docMk/>
            <pc:sldMk cId="1756145846" sldId="791"/>
            <ac:spMk id="20" creationId="{70DAABB7-449E-4A58-9676-10B047F3E054}"/>
          </ac:spMkLst>
        </pc:spChg>
        <pc:spChg chg="mod">
          <ac:chgData name="Thotakura, Ashok" userId="8def16fa-05a4-42f6-9097-35114c55c601" providerId="ADAL" clId="{8704C1DE-0D16-47A5-8CAE-92B3EE058A93}" dt="2021-06-11T11:21:12.026" v="2381" actId="20577"/>
          <ac:spMkLst>
            <pc:docMk/>
            <pc:sldMk cId="1756145846" sldId="791"/>
            <ac:spMk id="21" creationId="{DF33C333-68C4-8F4F-B771-F09DAB0DBC9A}"/>
          </ac:spMkLst>
        </pc:spChg>
        <pc:spChg chg="add mod">
          <ac:chgData name="Thotakura, Ashok" userId="8def16fa-05a4-42f6-9097-35114c55c601" providerId="ADAL" clId="{8704C1DE-0D16-47A5-8CAE-92B3EE058A93}" dt="2021-06-14T10:20:17.810" v="4121" actId="207"/>
          <ac:spMkLst>
            <pc:docMk/>
            <pc:sldMk cId="1756145846" sldId="791"/>
            <ac:spMk id="22" creationId="{7DBACDD9-4988-4008-B1CA-6CF258E1F70C}"/>
          </ac:spMkLst>
        </pc:spChg>
        <pc:spChg chg="add mod">
          <ac:chgData name="Thotakura, Ashok" userId="8def16fa-05a4-42f6-9097-35114c55c601" providerId="ADAL" clId="{8704C1DE-0D16-47A5-8CAE-92B3EE058A93}" dt="2021-06-14T10:20:45.975" v="4124" actId="207"/>
          <ac:spMkLst>
            <pc:docMk/>
            <pc:sldMk cId="1756145846" sldId="791"/>
            <ac:spMk id="24" creationId="{BFB4937B-A847-4419-8ED8-9CD42664A6A8}"/>
          </ac:spMkLst>
        </pc:spChg>
        <pc:spChg chg="add del mod">
          <ac:chgData name="Thotakura, Ashok" userId="8def16fa-05a4-42f6-9097-35114c55c601" providerId="ADAL" clId="{8704C1DE-0D16-47A5-8CAE-92B3EE058A93}" dt="2021-06-14T10:15:14.479" v="4101"/>
          <ac:spMkLst>
            <pc:docMk/>
            <pc:sldMk cId="1756145846" sldId="791"/>
            <ac:spMk id="26" creationId="{44DD0966-1555-4690-82B6-437AA72183F0}"/>
          </ac:spMkLst>
        </pc:spChg>
        <pc:spChg chg="add mod">
          <ac:chgData name="Thotakura, Ashok" userId="8def16fa-05a4-42f6-9097-35114c55c601" providerId="ADAL" clId="{8704C1DE-0D16-47A5-8CAE-92B3EE058A93}" dt="2021-06-14T10:15:50.780" v="4120" actId="313"/>
          <ac:spMkLst>
            <pc:docMk/>
            <pc:sldMk cId="1756145846" sldId="791"/>
            <ac:spMk id="28" creationId="{508A3502-0A0A-4D6E-8AF6-0F5CA7528CCF}"/>
          </ac:spMkLst>
        </pc:spChg>
        <pc:cxnChg chg="add mod">
          <ac:chgData name="Thotakura, Ashok" userId="8def16fa-05a4-42f6-9097-35114c55c601" providerId="ADAL" clId="{8704C1DE-0D16-47A5-8CAE-92B3EE058A93}" dt="2021-06-14T10:20:32.243" v="4123" actId="14100"/>
          <ac:cxnSpMkLst>
            <pc:docMk/>
            <pc:sldMk cId="1756145846" sldId="791"/>
            <ac:cxnSpMk id="23" creationId="{D9D22677-A3EF-4C27-8DE4-C9ABC67F4F60}"/>
          </ac:cxnSpMkLst>
        </pc:cxnChg>
        <pc:cxnChg chg="add mod">
          <ac:chgData name="Thotakura, Ashok" userId="8def16fa-05a4-42f6-9097-35114c55c601" providerId="ADAL" clId="{8704C1DE-0D16-47A5-8CAE-92B3EE058A93}" dt="2021-06-14T10:20:53.683" v="4125" actId="208"/>
          <ac:cxnSpMkLst>
            <pc:docMk/>
            <pc:sldMk cId="1756145846" sldId="791"/>
            <ac:cxnSpMk id="25" creationId="{58EF5B3F-38AF-4462-953A-3EA2F37B6B73}"/>
          </ac:cxnSpMkLst>
        </pc:cxnChg>
        <pc:cxnChg chg="add del mod">
          <ac:chgData name="Thotakura, Ashok" userId="8def16fa-05a4-42f6-9097-35114c55c601" providerId="ADAL" clId="{8704C1DE-0D16-47A5-8CAE-92B3EE058A93}" dt="2021-06-14T10:15:14.479" v="4101"/>
          <ac:cxnSpMkLst>
            <pc:docMk/>
            <pc:sldMk cId="1756145846" sldId="791"/>
            <ac:cxnSpMk id="27" creationId="{F26CCE25-C401-4061-B7AC-CEC69765F6F1}"/>
          </ac:cxnSpMkLst>
        </pc:cxnChg>
        <pc:cxnChg chg="add mod">
          <ac:chgData name="Thotakura, Ashok" userId="8def16fa-05a4-42f6-9097-35114c55c601" providerId="ADAL" clId="{8704C1DE-0D16-47A5-8CAE-92B3EE058A93}" dt="2021-06-14T10:15:24.085" v="4103" actId="1076"/>
          <ac:cxnSpMkLst>
            <pc:docMk/>
            <pc:sldMk cId="1756145846" sldId="791"/>
            <ac:cxnSpMk id="29" creationId="{169711DA-DBE4-462B-B40B-2BE084D4BD4F}"/>
          </ac:cxnSpMkLst>
        </pc:cxnChg>
      </pc:sldChg>
      <pc:sldChg chg="delSp modSp add mod ord">
        <pc:chgData name="Thotakura, Ashok" userId="8def16fa-05a4-42f6-9097-35114c55c601" providerId="ADAL" clId="{8704C1DE-0D16-47A5-8CAE-92B3EE058A93}" dt="2021-06-11T11:39:10.681" v="2404"/>
        <pc:sldMkLst>
          <pc:docMk/>
          <pc:sldMk cId="2133277366" sldId="796"/>
        </pc:sldMkLst>
        <pc:spChg chg="mod">
          <ac:chgData name="Thotakura, Ashok" userId="8def16fa-05a4-42f6-9097-35114c55c601" providerId="ADAL" clId="{8704C1DE-0D16-47A5-8CAE-92B3EE058A93}" dt="2021-06-11T10:37:09.512" v="2026" actId="1076"/>
          <ac:spMkLst>
            <pc:docMk/>
            <pc:sldMk cId="2133277366" sldId="796"/>
            <ac:spMk id="6" creationId="{DCA69532-E1E1-8D4D-942F-742B061B9BFD}"/>
          </ac:spMkLst>
        </pc:spChg>
        <pc:spChg chg="del">
          <ac:chgData name="Thotakura, Ashok" userId="8def16fa-05a4-42f6-9097-35114c55c601" providerId="ADAL" clId="{8704C1DE-0D16-47A5-8CAE-92B3EE058A93}" dt="2021-06-11T10:34:37.886" v="2024" actId="478"/>
          <ac:spMkLst>
            <pc:docMk/>
            <pc:sldMk cId="2133277366" sldId="796"/>
            <ac:spMk id="99" creationId="{87A50AB0-63A0-4CB7-91CF-407FD86D2119}"/>
          </ac:spMkLst>
        </pc:spChg>
        <pc:spChg chg="mod">
          <ac:chgData name="Thotakura, Ashok" userId="8def16fa-05a4-42f6-9097-35114c55c601" providerId="ADAL" clId="{8704C1DE-0D16-47A5-8CAE-92B3EE058A93}" dt="2021-06-11T10:42:53.285" v="2172" actId="20577"/>
          <ac:spMkLst>
            <pc:docMk/>
            <pc:sldMk cId="2133277366" sldId="796"/>
            <ac:spMk id="104" creationId="{02668AA5-3D4C-F34D-ABD3-EFF3057F174B}"/>
          </ac:spMkLst>
        </pc:spChg>
        <pc:spChg chg="mod">
          <ac:chgData name="Thotakura, Ashok" userId="8def16fa-05a4-42f6-9097-35114c55c601" providerId="ADAL" clId="{8704C1DE-0D16-47A5-8CAE-92B3EE058A93}" dt="2021-06-11T10:40:19.533" v="2088"/>
          <ac:spMkLst>
            <pc:docMk/>
            <pc:sldMk cId="2133277366" sldId="796"/>
            <ac:spMk id="105" creationId="{0682AFEC-BDFB-4249-8D84-661F67B8D4AE}"/>
          </ac:spMkLst>
        </pc:spChg>
        <pc:spChg chg="mod">
          <ac:chgData name="Thotakura, Ashok" userId="8def16fa-05a4-42f6-9097-35114c55c601" providerId="ADAL" clId="{8704C1DE-0D16-47A5-8CAE-92B3EE058A93}" dt="2021-06-11T10:39:21.019" v="2084" actId="20577"/>
          <ac:spMkLst>
            <pc:docMk/>
            <pc:sldMk cId="2133277366" sldId="796"/>
            <ac:spMk id="106" creationId="{8F38352D-15E3-ED40-A26E-2C73B249C73E}"/>
          </ac:spMkLst>
        </pc:spChg>
        <pc:spChg chg="mod">
          <ac:chgData name="Thotakura, Ashok" userId="8def16fa-05a4-42f6-9097-35114c55c601" providerId="ADAL" clId="{8704C1DE-0D16-47A5-8CAE-92B3EE058A93}" dt="2021-06-11T10:40:01.129" v="2086"/>
          <ac:spMkLst>
            <pc:docMk/>
            <pc:sldMk cId="2133277366" sldId="796"/>
            <ac:spMk id="107" creationId="{1748DDF0-1FB2-B240-9C5B-049DB29478E7}"/>
          </ac:spMkLst>
        </pc:spChg>
        <pc:spChg chg="mod">
          <ac:chgData name="Thotakura, Ashok" userId="8def16fa-05a4-42f6-9097-35114c55c601" providerId="ADAL" clId="{8704C1DE-0D16-47A5-8CAE-92B3EE058A93}" dt="2021-06-11T10:46:00.441" v="2174" actId="20577"/>
          <ac:spMkLst>
            <pc:docMk/>
            <pc:sldMk cId="2133277366" sldId="796"/>
            <ac:spMk id="108" creationId="{3FF0B753-0612-5446-880A-61AABE1FEE6D}"/>
          </ac:spMkLst>
        </pc:spChg>
        <pc:spChg chg="mod">
          <ac:chgData name="Thotakura, Ashok" userId="8def16fa-05a4-42f6-9097-35114c55c601" providerId="ADAL" clId="{8704C1DE-0D16-47A5-8CAE-92B3EE058A93}" dt="2021-06-11T10:46:03.001" v="2176" actId="20577"/>
          <ac:spMkLst>
            <pc:docMk/>
            <pc:sldMk cId="2133277366" sldId="796"/>
            <ac:spMk id="109" creationId="{711C021B-475F-3F49-9F20-0B6F4DE717AF}"/>
          </ac:spMkLst>
        </pc:spChg>
        <pc:spChg chg="mod">
          <ac:chgData name="Thotakura, Ashok" userId="8def16fa-05a4-42f6-9097-35114c55c601" providerId="ADAL" clId="{8704C1DE-0D16-47A5-8CAE-92B3EE058A93}" dt="2021-06-11T10:37:29.579" v="2041" actId="20577"/>
          <ac:spMkLst>
            <pc:docMk/>
            <pc:sldMk cId="2133277366" sldId="796"/>
            <ac:spMk id="193" creationId="{7F20B8E5-38B9-874E-801A-0C94EA39DC03}"/>
          </ac:spMkLst>
        </pc:spChg>
        <pc:spChg chg="mod">
          <ac:chgData name="Thotakura, Ashok" userId="8def16fa-05a4-42f6-9097-35114c55c601" providerId="ADAL" clId="{8704C1DE-0D16-47A5-8CAE-92B3EE058A93}" dt="2021-06-11T10:38:49.831" v="2061" actId="33524"/>
          <ac:spMkLst>
            <pc:docMk/>
            <pc:sldMk cId="2133277366" sldId="796"/>
            <ac:spMk id="194" creationId="{0EE35670-FFF5-8643-9393-2B74118E3F36}"/>
          </ac:spMkLst>
        </pc:spChg>
      </pc:sldChg>
      <pc:sldChg chg="delSp modSp add mod ord">
        <pc:chgData name="Thotakura, Ashok" userId="8def16fa-05a4-42f6-9097-35114c55c601" providerId="ADAL" clId="{8704C1DE-0D16-47A5-8CAE-92B3EE058A93}" dt="2021-06-11T11:39:10.681" v="2404"/>
        <pc:sldMkLst>
          <pc:docMk/>
          <pc:sldMk cId="989575491" sldId="797"/>
        </pc:sldMkLst>
        <pc:spChg chg="mod">
          <ac:chgData name="Thotakura, Ashok" userId="8def16fa-05a4-42f6-9097-35114c55c601" providerId="ADAL" clId="{8704C1DE-0D16-47A5-8CAE-92B3EE058A93}" dt="2021-06-11T10:47:57.629" v="2178"/>
          <ac:spMkLst>
            <pc:docMk/>
            <pc:sldMk cId="989575491" sldId="797"/>
            <ac:spMk id="3" creationId="{38DD1CE0-EEB2-A648-B763-7F40D6671914}"/>
          </ac:spMkLst>
        </pc:spChg>
        <pc:spChg chg="del mod">
          <ac:chgData name="Thotakura, Ashok" userId="8def16fa-05a4-42f6-9097-35114c55c601" providerId="ADAL" clId="{8704C1DE-0D16-47A5-8CAE-92B3EE058A93}" dt="2021-06-11T10:48:02.208" v="2180" actId="478"/>
          <ac:spMkLst>
            <pc:docMk/>
            <pc:sldMk cId="989575491" sldId="797"/>
            <ac:spMk id="33" creationId="{99EBCC5B-AEAE-4529-9C81-A14D337C3079}"/>
          </ac:spMkLst>
        </pc:spChg>
        <pc:spChg chg="mod">
          <ac:chgData name="Thotakura, Ashok" userId="8def16fa-05a4-42f6-9097-35114c55c601" providerId="ADAL" clId="{8704C1DE-0D16-47A5-8CAE-92B3EE058A93}" dt="2021-06-11T10:48:35.647" v="2226" actId="20577"/>
          <ac:spMkLst>
            <pc:docMk/>
            <pc:sldMk cId="989575491" sldId="797"/>
            <ac:spMk id="58" creationId="{A4E5CB12-D334-4F3C-8E95-18A0829C146E}"/>
          </ac:spMkLst>
        </pc:spChg>
        <pc:spChg chg="mod">
          <ac:chgData name="Thotakura, Ashok" userId="8def16fa-05a4-42f6-9097-35114c55c601" providerId="ADAL" clId="{8704C1DE-0D16-47A5-8CAE-92B3EE058A93}" dt="2021-06-11T10:48:42.333" v="2234" actId="20577"/>
          <ac:spMkLst>
            <pc:docMk/>
            <pc:sldMk cId="989575491" sldId="797"/>
            <ac:spMk id="65" creationId="{79C6B493-65F8-4AA1-82A6-36E2A64F434B}"/>
          </ac:spMkLst>
        </pc:spChg>
        <pc:spChg chg="mod">
          <ac:chgData name="Thotakura, Ashok" userId="8def16fa-05a4-42f6-9097-35114c55c601" providerId="ADAL" clId="{8704C1DE-0D16-47A5-8CAE-92B3EE058A93}" dt="2021-06-11T10:48:14.155" v="2194" actId="20577"/>
          <ac:spMkLst>
            <pc:docMk/>
            <pc:sldMk cId="989575491" sldId="797"/>
            <ac:spMk id="72" creationId="{AC12BF62-57A5-4BA6-A79C-F95F03328D4A}"/>
          </ac:spMkLst>
        </pc:spChg>
        <pc:spChg chg="mod">
          <ac:chgData name="Thotakura, Ashok" userId="8def16fa-05a4-42f6-9097-35114c55c601" providerId="ADAL" clId="{8704C1DE-0D16-47A5-8CAE-92B3EE058A93}" dt="2021-06-11T10:48:27.051" v="2217" actId="20577"/>
          <ac:spMkLst>
            <pc:docMk/>
            <pc:sldMk cId="989575491" sldId="797"/>
            <ac:spMk id="79" creationId="{7AED8F5C-E015-4727-AB14-A26513902A17}"/>
          </ac:spMkLst>
        </pc:spChg>
      </pc:sldChg>
      <pc:sldChg chg="addSp delSp modSp add mod ord">
        <pc:chgData name="Thotakura, Ashok" userId="8def16fa-05a4-42f6-9097-35114c55c601" providerId="ADAL" clId="{8704C1DE-0D16-47A5-8CAE-92B3EE058A93}" dt="2021-06-14T13:17:06.369" v="4245" actId="20577"/>
        <pc:sldMkLst>
          <pc:docMk/>
          <pc:sldMk cId="295079143" sldId="798"/>
        </pc:sldMkLst>
        <pc:spChg chg="add del mod">
          <ac:chgData name="Thotakura, Ashok" userId="8def16fa-05a4-42f6-9097-35114c55c601" providerId="ADAL" clId="{8704C1DE-0D16-47A5-8CAE-92B3EE058A93}" dt="2021-06-14T08:54:28.189" v="3390" actId="478"/>
          <ac:spMkLst>
            <pc:docMk/>
            <pc:sldMk cId="295079143" sldId="798"/>
            <ac:spMk id="5" creationId="{DA8C618E-EDAA-4049-94CD-E74307953BBD}"/>
          </ac:spMkLst>
        </pc:spChg>
        <pc:spChg chg="add del mod">
          <ac:chgData name="Thotakura, Ashok" userId="8def16fa-05a4-42f6-9097-35114c55c601" providerId="ADAL" clId="{8704C1DE-0D16-47A5-8CAE-92B3EE058A93}" dt="2021-06-14T08:54:26.599" v="3389" actId="478"/>
          <ac:spMkLst>
            <pc:docMk/>
            <pc:sldMk cId="295079143" sldId="798"/>
            <ac:spMk id="6" creationId="{36FE73B9-BEAB-41E0-A758-573ABD404A3D}"/>
          </ac:spMkLst>
        </pc:spChg>
        <pc:spChg chg="add del mod">
          <ac:chgData name="Thotakura, Ashok" userId="8def16fa-05a4-42f6-9097-35114c55c601" providerId="ADAL" clId="{8704C1DE-0D16-47A5-8CAE-92B3EE058A93}" dt="2021-06-14T08:54:24.085" v="3388" actId="478"/>
          <ac:spMkLst>
            <pc:docMk/>
            <pc:sldMk cId="295079143" sldId="798"/>
            <ac:spMk id="7" creationId="{3BB21392-958D-4190-AA17-280A78052402}"/>
          </ac:spMkLst>
        </pc:spChg>
        <pc:spChg chg="add del mod">
          <ac:chgData name="Thotakura, Ashok" userId="8def16fa-05a4-42f6-9097-35114c55c601" providerId="ADAL" clId="{8704C1DE-0D16-47A5-8CAE-92B3EE058A93}" dt="2021-06-14T08:54:30.792" v="3391" actId="478"/>
          <ac:spMkLst>
            <pc:docMk/>
            <pc:sldMk cId="295079143" sldId="798"/>
            <ac:spMk id="8" creationId="{08935CB5-497D-4C2F-8B71-549C088AA9EB}"/>
          </ac:spMkLst>
        </pc:spChg>
        <pc:spChg chg="add mod">
          <ac:chgData name="Thotakura, Ashok" userId="8def16fa-05a4-42f6-9097-35114c55c601" providerId="ADAL" clId="{8704C1DE-0D16-47A5-8CAE-92B3EE058A93}" dt="2021-06-14T09:46:27.757" v="3897" actId="1076"/>
          <ac:spMkLst>
            <pc:docMk/>
            <pc:sldMk cId="295079143" sldId="798"/>
            <ac:spMk id="9" creationId="{07B17025-2246-4521-94EE-EBF213DBDC97}"/>
          </ac:spMkLst>
        </pc:spChg>
        <pc:spChg chg="add del mod">
          <ac:chgData name="Thotakura, Ashok" userId="8def16fa-05a4-42f6-9097-35114c55c601" providerId="ADAL" clId="{8704C1DE-0D16-47A5-8CAE-92B3EE058A93}" dt="2021-06-14T08:54:35.126" v="3393"/>
          <ac:spMkLst>
            <pc:docMk/>
            <pc:sldMk cId="295079143" sldId="798"/>
            <ac:spMk id="10" creationId="{6E150CD0-1B5D-4A4F-9C97-F451BBDBC901}"/>
          </ac:spMkLst>
        </pc:spChg>
        <pc:spChg chg="add del mod">
          <ac:chgData name="Thotakura, Ashok" userId="8def16fa-05a4-42f6-9097-35114c55c601" providerId="ADAL" clId="{8704C1DE-0D16-47A5-8CAE-92B3EE058A93}" dt="2021-06-14T08:54:35.126" v="3393"/>
          <ac:spMkLst>
            <pc:docMk/>
            <pc:sldMk cId="295079143" sldId="798"/>
            <ac:spMk id="11" creationId="{B0A84EC9-AF36-49C3-BFC5-81A470CE55E2}"/>
          </ac:spMkLst>
        </pc:spChg>
        <pc:spChg chg="add del mod">
          <ac:chgData name="Thotakura, Ashok" userId="8def16fa-05a4-42f6-9097-35114c55c601" providerId="ADAL" clId="{8704C1DE-0D16-47A5-8CAE-92B3EE058A93}" dt="2021-06-14T08:54:50.314" v="3407"/>
          <ac:spMkLst>
            <pc:docMk/>
            <pc:sldMk cId="295079143" sldId="798"/>
            <ac:spMk id="12" creationId="{EB5DD4A1-2D9A-4A12-A2C6-03C1EBDBFE3A}"/>
          </ac:spMkLst>
        </pc:spChg>
        <pc:spChg chg="add del mod">
          <ac:chgData name="Thotakura, Ashok" userId="8def16fa-05a4-42f6-9097-35114c55c601" providerId="ADAL" clId="{8704C1DE-0D16-47A5-8CAE-92B3EE058A93}" dt="2021-06-14T08:54:50.314" v="3407"/>
          <ac:spMkLst>
            <pc:docMk/>
            <pc:sldMk cId="295079143" sldId="798"/>
            <ac:spMk id="13" creationId="{347955C5-E5F2-411C-93A2-B98732FCA6C6}"/>
          </ac:spMkLst>
        </pc:spChg>
        <pc:spChg chg="add del mod">
          <ac:chgData name="Thotakura, Ashok" userId="8def16fa-05a4-42f6-9097-35114c55c601" providerId="ADAL" clId="{8704C1DE-0D16-47A5-8CAE-92B3EE058A93}" dt="2021-06-14T08:55:51.989" v="3445"/>
          <ac:spMkLst>
            <pc:docMk/>
            <pc:sldMk cId="295079143" sldId="798"/>
            <ac:spMk id="14" creationId="{D2F80763-EAB9-41C8-9E4C-A6651064D52F}"/>
          </ac:spMkLst>
        </pc:spChg>
        <pc:spChg chg="add del mod">
          <ac:chgData name="Thotakura, Ashok" userId="8def16fa-05a4-42f6-9097-35114c55c601" providerId="ADAL" clId="{8704C1DE-0D16-47A5-8CAE-92B3EE058A93}" dt="2021-06-14T08:55:51.989" v="3445"/>
          <ac:spMkLst>
            <pc:docMk/>
            <pc:sldMk cId="295079143" sldId="798"/>
            <ac:spMk id="15" creationId="{86BF69D5-D21B-4879-A14E-8BA7BADB038C}"/>
          </ac:spMkLst>
        </pc:spChg>
        <pc:spChg chg="add del mod">
          <ac:chgData name="Thotakura, Ashok" userId="8def16fa-05a4-42f6-9097-35114c55c601" providerId="ADAL" clId="{8704C1DE-0D16-47A5-8CAE-92B3EE058A93}" dt="2021-06-14T08:55:57.505" v="3449"/>
          <ac:spMkLst>
            <pc:docMk/>
            <pc:sldMk cId="295079143" sldId="798"/>
            <ac:spMk id="16" creationId="{A9801B5D-EF4B-4545-A2EE-D75AAC587DE1}"/>
          </ac:spMkLst>
        </pc:spChg>
        <pc:spChg chg="add del mod">
          <ac:chgData name="Thotakura, Ashok" userId="8def16fa-05a4-42f6-9097-35114c55c601" providerId="ADAL" clId="{8704C1DE-0D16-47A5-8CAE-92B3EE058A93}" dt="2021-06-14T08:55:57.505" v="3449"/>
          <ac:spMkLst>
            <pc:docMk/>
            <pc:sldMk cId="295079143" sldId="798"/>
            <ac:spMk id="17" creationId="{F9BD522B-B243-40C1-B40B-E91C0718F8B5}"/>
          </ac:spMkLst>
        </pc:spChg>
        <pc:spChg chg="add del mod">
          <ac:chgData name="Thotakura, Ashok" userId="8def16fa-05a4-42f6-9097-35114c55c601" providerId="ADAL" clId="{8704C1DE-0D16-47A5-8CAE-92B3EE058A93}" dt="2021-06-14T08:56:03.775" v="3453"/>
          <ac:spMkLst>
            <pc:docMk/>
            <pc:sldMk cId="295079143" sldId="798"/>
            <ac:spMk id="18" creationId="{F79763DB-132D-481F-971B-5841CF485ADF}"/>
          </ac:spMkLst>
        </pc:spChg>
        <pc:spChg chg="add del mod">
          <ac:chgData name="Thotakura, Ashok" userId="8def16fa-05a4-42f6-9097-35114c55c601" providerId="ADAL" clId="{8704C1DE-0D16-47A5-8CAE-92B3EE058A93}" dt="2021-06-14T08:56:03.775" v="3453"/>
          <ac:spMkLst>
            <pc:docMk/>
            <pc:sldMk cId="295079143" sldId="798"/>
            <ac:spMk id="19" creationId="{410C90FF-528D-4795-819F-2256497F8385}"/>
          </ac:spMkLst>
        </pc:spChg>
        <pc:spChg chg="add del mod">
          <ac:chgData name="Thotakura, Ashok" userId="8def16fa-05a4-42f6-9097-35114c55c601" providerId="ADAL" clId="{8704C1DE-0D16-47A5-8CAE-92B3EE058A93}" dt="2021-06-14T08:56:11.578" v="3472" actId="478"/>
          <ac:spMkLst>
            <pc:docMk/>
            <pc:sldMk cId="295079143" sldId="798"/>
            <ac:spMk id="20" creationId="{D43FDF97-2A36-4ADD-9BFA-41A8DF1BB5EC}"/>
          </ac:spMkLst>
        </pc:spChg>
        <pc:spChg chg="add del mod">
          <ac:chgData name="Thotakura, Ashok" userId="8def16fa-05a4-42f6-9097-35114c55c601" providerId="ADAL" clId="{8704C1DE-0D16-47A5-8CAE-92B3EE058A93}" dt="2021-06-14T08:56:11.578" v="3472" actId="478"/>
          <ac:spMkLst>
            <pc:docMk/>
            <pc:sldMk cId="295079143" sldId="798"/>
            <ac:spMk id="21" creationId="{2A25A182-8452-41DF-83AA-794D24F40037}"/>
          </ac:spMkLst>
        </pc:spChg>
        <pc:spChg chg="add mod">
          <ac:chgData name="Thotakura, Ashok" userId="8def16fa-05a4-42f6-9097-35114c55c601" providerId="ADAL" clId="{8704C1DE-0D16-47A5-8CAE-92B3EE058A93}" dt="2021-06-14T13:17:06.369" v="4245" actId="20577"/>
          <ac:spMkLst>
            <pc:docMk/>
            <pc:sldMk cId="295079143" sldId="798"/>
            <ac:spMk id="22" creationId="{9ACA6CBB-7877-44BB-B063-97BDE53D4AC1}"/>
          </ac:spMkLst>
        </pc:spChg>
        <pc:spChg chg="add mod">
          <ac:chgData name="Thotakura, Ashok" userId="8def16fa-05a4-42f6-9097-35114c55c601" providerId="ADAL" clId="{8704C1DE-0D16-47A5-8CAE-92B3EE058A93}" dt="2021-06-14T11:55:42.186" v="4202" actId="1076"/>
          <ac:spMkLst>
            <pc:docMk/>
            <pc:sldMk cId="295079143" sldId="798"/>
            <ac:spMk id="23" creationId="{F4729CA2-7CD3-414B-9F41-54FA6126C21D}"/>
          </ac:spMkLst>
        </pc:spChg>
        <pc:spChg chg="add del mod">
          <ac:chgData name="Thotakura, Ashok" userId="8def16fa-05a4-42f6-9097-35114c55c601" providerId="ADAL" clId="{8704C1DE-0D16-47A5-8CAE-92B3EE058A93}" dt="2021-06-14T11:52:54.322" v="4160"/>
          <ac:spMkLst>
            <pc:docMk/>
            <pc:sldMk cId="295079143" sldId="798"/>
            <ac:spMk id="24" creationId="{5D3AF6FE-F5E1-49FB-850D-3BB50EA2FE5F}"/>
          </ac:spMkLst>
        </pc:spChg>
        <pc:spChg chg="mod">
          <ac:chgData name="Thotakura, Ashok" userId="8def16fa-05a4-42f6-9097-35114c55c601" providerId="ADAL" clId="{8704C1DE-0D16-47A5-8CAE-92B3EE058A93}" dt="2021-06-14T09:08:32.410" v="3738" actId="20577"/>
          <ac:spMkLst>
            <pc:docMk/>
            <pc:sldMk cId="295079143" sldId="798"/>
            <ac:spMk id="25" creationId="{72A4E72F-2BB0-4315-B27B-15118D511E55}"/>
          </ac:spMkLst>
        </pc:spChg>
        <pc:spChg chg="add mod">
          <ac:chgData name="Thotakura, Ashok" userId="8def16fa-05a4-42f6-9097-35114c55c601" providerId="ADAL" clId="{8704C1DE-0D16-47A5-8CAE-92B3EE058A93}" dt="2021-06-14T11:55:23.598" v="4201" actId="20577"/>
          <ac:spMkLst>
            <pc:docMk/>
            <pc:sldMk cId="295079143" sldId="798"/>
            <ac:spMk id="26" creationId="{6CF768AA-848D-4E3C-BCD2-1C1EFC9AB5CB}"/>
          </ac:spMkLst>
        </pc:spChg>
        <pc:picChg chg="add mod">
          <ac:chgData name="Thotakura, Ashok" userId="8def16fa-05a4-42f6-9097-35114c55c601" providerId="ADAL" clId="{8704C1DE-0D16-47A5-8CAE-92B3EE058A93}" dt="2021-06-14T09:08:20.566" v="3704" actId="1076"/>
          <ac:picMkLst>
            <pc:docMk/>
            <pc:sldMk cId="295079143" sldId="798"/>
            <ac:picMk id="2" creationId="{AEFFDACB-7CE8-400A-8EF1-173BF23B9CAA}"/>
          </ac:picMkLst>
        </pc:picChg>
        <pc:picChg chg="del">
          <ac:chgData name="Thotakura, Ashok" userId="8def16fa-05a4-42f6-9097-35114c55c601" providerId="ADAL" clId="{8704C1DE-0D16-47A5-8CAE-92B3EE058A93}" dt="2021-06-11T13:52:19.245" v="2585" actId="478"/>
          <ac:picMkLst>
            <pc:docMk/>
            <pc:sldMk cId="295079143" sldId="798"/>
            <ac:picMk id="3" creationId="{FCA5EE39-2564-4ABC-A218-7120D03C8822}"/>
          </ac:picMkLst>
        </pc:picChg>
      </pc:sldChg>
      <pc:sldChg chg="addSp delSp modSp add mod">
        <pc:chgData name="Thotakura, Ashok" userId="8def16fa-05a4-42f6-9097-35114c55c601" providerId="ADAL" clId="{8704C1DE-0D16-47A5-8CAE-92B3EE058A93}" dt="2021-06-14T10:49:19.946" v="4150" actId="1076"/>
        <pc:sldMkLst>
          <pc:docMk/>
          <pc:sldMk cId="919561804" sldId="800"/>
        </pc:sldMkLst>
        <pc:picChg chg="add del mod">
          <ac:chgData name="Thotakura, Ashok" userId="8def16fa-05a4-42f6-9097-35114c55c601" providerId="ADAL" clId="{8704C1DE-0D16-47A5-8CAE-92B3EE058A93}" dt="2021-06-14T10:49:08.848" v="4147" actId="478"/>
          <ac:picMkLst>
            <pc:docMk/>
            <pc:sldMk cId="919561804" sldId="800"/>
            <ac:picMk id="3" creationId="{3BDCB311-A9F2-4CC4-8E5F-AA400D760CB1}"/>
          </ac:picMkLst>
        </pc:picChg>
        <pc:picChg chg="add mod">
          <ac:chgData name="Thotakura, Ashok" userId="8def16fa-05a4-42f6-9097-35114c55c601" providerId="ADAL" clId="{8704C1DE-0D16-47A5-8CAE-92B3EE058A93}" dt="2021-06-14T10:49:19.946" v="4150" actId="1076"/>
          <ac:picMkLst>
            <pc:docMk/>
            <pc:sldMk cId="919561804" sldId="800"/>
            <ac:picMk id="4" creationId="{E0D6BF1C-4E29-41D0-9E45-F89EE4C4141F}"/>
          </ac:picMkLst>
        </pc:picChg>
        <pc:picChg chg="del">
          <ac:chgData name="Thotakura, Ashok" userId="8def16fa-05a4-42f6-9097-35114c55c601" providerId="ADAL" clId="{8704C1DE-0D16-47A5-8CAE-92B3EE058A93}" dt="2021-06-14T10:37:37.325" v="4127" actId="478"/>
          <ac:picMkLst>
            <pc:docMk/>
            <pc:sldMk cId="919561804" sldId="800"/>
            <ac:picMk id="5" creationId="{310F8660-E819-4CDB-A1BE-571E065A6418}"/>
          </ac:picMkLst>
        </pc:picChg>
      </pc:sldChg>
      <pc:sldMasterChg chg="del delSldLayout">
        <pc:chgData name="Thotakura, Ashok" userId="8def16fa-05a4-42f6-9097-35114c55c601" providerId="ADAL" clId="{8704C1DE-0D16-47A5-8CAE-92B3EE058A93}" dt="2021-06-11T12:25:08.675" v="2495" actId="47"/>
        <pc:sldMasterMkLst>
          <pc:docMk/>
          <pc:sldMasterMk cId="113800118" sldId="2147483806"/>
        </pc:sldMasterMkLst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299662066" sldId="2147483807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778755024" sldId="2147483808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833365822" sldId="2147483809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4074594723" sldId="2147483810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465854745" sldId="2147483811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451486806" sldId="2147483812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034558547" sldId="2147483813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387781432" sldId="2147483814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2634434761" sldId="2147483815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994541598" sldId="2147483816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013381369" sldId="2147483817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506834608" sldId="2147483818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235155722" sldId="2147483819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763522461" sldId="2147483820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925424812" sldId="2147483821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162351232" sldId="2147483822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062854449" sldId="2147483823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817660728" sldId="2147483824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926836215" sldId="2147483825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513062074" sldId="2147483826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453492010" sldId="2147483827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218561677" sldId="2147483828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555431093" sldId="2147483829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401227936" sldId="2147483830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2527441568" sldId="2147483831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3595486129" sldId="2147483832"/>
          </pc:sldLayoutMkLst>
        </pc:sldLayoutChg>
        <pc:sldLayoutChg chg="del">
          <pc:chgData name="Thotakura, Ashok" userId="8def16fa-05a4-42f6-9097-35114c55c601" providerId="ADAL" clId="{8704C1DE-0D16-47A5-8CAE-92B3EE058A93}" dt="2021-06-11T12:25:08.675" v="2495" actId="47"/>
          <pc:sldLayoutMkLst>
            <pc:docMk/>
            <pc:sldMasterMk cId="113800118" sldId="2147483806"/>
            <pc:sldLayoutMk cId="1943872064" sldId="2147483833"/>
          </pc:sldLayoutMkLst>
        </pc:sldLayoutChg>
      </pc:sldMasterChg>
    </pc:docChg>
  </pc:docChgLst>
  <pc:docChgLst>
    <pc:chgData name="Thotakura, Ashok" userId="8def16fa-05a4-42f6-9097-35114c55c601" providerId="ADAL" clId="{AE7ACACD-4372-4A63-ABBE-C9005EDA41A6}"/>
    <pc:docChg chg="custSel modSld">
      <pc:chgData name="Thotakura, Ashok" userId="8def16fa-05a4-42f6-9097-35114c55c601" providerId="ADAL" clId="{AE7ACACD-4372-4A63-ABBE-C9005EDA41A6}" dt="2020-08-27T13:21:09.749" v="3" actId="1076"/>
      <pc:docMkLst>
        <pc:docMk/>
      </pc:docMkLst>
      <pc:sldChg chg="modSp mod">
        <pc:chgData name="Thotakura, Ashok" userId="8def16fa-05a4-42f6-9097-35114c55c601" providerId="ADAL" clId="{AE7ACACD-4372-4A63-ABBE-C9005EDA41A6}" dt="2020-08-27T13:21:09.749" v="3" actId="1076"/>
        <pc:sldMkLst>
          <pc:docMk/>
          <pc:sldMk cId="3772836641" sldId="474"/>
        </pc:sldMkLst>
        <pc:picChg chg="mod">
          <ac:chgData name="Thotakura, Ashok" userId="8def16fa-05a4-42f6-9097-35114c55c601" providerId="ADAL" clId="{AE7ACACD-4372-4A63-ABBE-C9005EDA41A6}" dt="2020-08-27T13:21:09.749" v="3" actId="1076"/>
          <ac:picMkLst>
            <pc:docMk/>
            <pc:sldMk cId="3772836641" sldId="474"/>
            <ac:picMk id="4" creationId="{1B5BE330-CA44-4F3B-9D8D-96C8F4898FD0}"/>
          </ac:picMkLst>
        </pc:picChg>
      </pc:sldChg>
      <pc:sldChg chg="delSp mod">
        <pc:chgData name="Thotakura, Ashok" userId="8def16fa-05a4-42f6-9097-35114c55c601" providerId="ADAL" clId="{AE7ACACD-4372-4A63-ABBE-C9005EDA41A6}" dt="2020-08-27T11:03:08.479" v="2" actId="478"/>
        <pc:sldMkLst>
          <pc:docMk/>
          <pc:sldMk cId="1231956484" sldId="639"/>
        </pc:sldMkLst>
        <pc:inkChg chg="del">
          <ac:chgData name="Thotakura, Ashok" userId="8def16fa-05a4-42f6-9097-35114c55c601" providerId="ADAL" clId="{AE7ACACD-4372-4A63-ABBE-C9005EDA41A6}" dt="2020-08-27T11:03:08.479" v="2" actId="478"/>
          <ac:inkMkLst>
            <pc:docMk/>
            <pc:sldMk cId="1231956484" sldId="639"/>
            <ac:inkMk id="4" creationId="{7DB9C957-6884-4D8C-9897-BA0C287881D3}"/>
          </ac:inkMkLst>
        </pc:inkChg>
        <pc:inkChg chg="del">
          <ac:chgData name="Thotakura, Ashok" userId="8def16fa-05a4-42f6-9097-35114c55c601" providerId="ADAL" clId="{AE7ACACD-4372-4A63-ABBE-C9005EDA41A6}" dt="2020-08-27T11:03:05.578" v="1" actId="478"/>
          <ac:inkMkLst>
            <pc:docMk/>
            <pc:sldMk cId="1231956484" sldId="639"/>
            <ac:inkMk id="5" creationId="{9D4198AA-59CB-4DF0-98E0-7682DF0B7B4E}"/>
          </ac:inkMkLst>
        </pc:inkChg>
        <pc:inkChg chg="del">
          <ac:chgData name="Thotakura, Ashok" userId="8def16fa-05a4-42f6-9097-35114c55c601" providerId="ADAL" clId="{AE7ACACD-4372-4A63-ABBE-C9005EDA41A6}" dt="2020-08-27T11:03:03.455" v="0" actId="478"/>
          <ac:inkMkLst>
            <pc:docMk/>
            <pc:sldMk cId="1231956484" sldId="639"/>
            <ac:inkMk id="7" creationId="{DCEA613A-2DCC-42C5-B46B-A827F31FD924}"/>
          </ac:inkMkLst>
        </pc:inkChg>
      </pc:sldChg>
    </pc:docChg>
  </pc:docChgLst>
  <pc:docChgLst>
    <pc:chgData name="Vallepalli, Thandava" userId="61f37ead-8e94-430f-ab46-1cf20f09dc50" providerId="ADAL" clId="{4BB7D6F2-DA5E-4636-B826-4EE2CDA30786}"/>
    <pc:docChg chg="undo custSel addSld delSld modSld sldOrd">
      <pc:chgData name="Vallepalli, Thandava" userId="61f37ead-8e94-430f-ab46-1cf20f09dc50" providerId="ADAL" clId="{4BB7D6F2-DA5E-4636-B826-4EE2CDA30786}" dt="2021-10-08T12:57:19.603" v="2861" actId="20577"/>
      <pc:docMkLst>
        <pc:docMk/>
      </pc:docMkLst>
      <pc:sldChg chg="add">
        <pc:chgData name="Vallepalli, Thandava" userId="61f37ead-8e94-430f-ab46-1cf20f09dc50" providerId="ADAL" clId="{4BB7D6F2-DA5E-4636-B826-4EE2CDA30786}" dt="2021-10-04T21:40:07.079" v="1088"/>
        <pc:sldMkLst>
          <pc:docMk/>
          <pc:sldMk cId="799509803" sldId="257"/>
        </pc:sldMkLst>
      </pc:sldChg>
      <pc:sldChg chg="modSp mod addCm delCm modCm modNotes modNotesTx">
        <pc:chgData name="Vallepalli, Thandava" userId="61f37ead-8e94-430f-ab46-1cf20f09dc50" providerId="ADAL" clId="{4BB7D6F2-DA5E-4636-B826-4EE2CDA30786}" dt="2021-10-05T14:19:35.123" v="2856" actId="20577"/>
        <pc:sldMkLst>
          <pc:docMk/>
          <pc:sldMk cId="954719197" sldId="626"/>
        </pc:sldMkLst>
        <pc:spChg chg="mod">
          <ac:chgData name="Vallepalli, Thandava" userId="61f37ead-8e94-430f-ab46-1cf20f09dc50" providerId="ADAL" clId="{4BB7D6F2-DA5E-4636-B826-4EE2CDA30786}" dt="2021-10-05T14:19:35.123" v="2856" actId="20577"/>
          <ac:spMkLst>
            <pc:docMk/>
            <pc:sldMk cId="954719197" sldId="626"/>
            <ac:spMk id="31" creationId="{72355FB0-3FD5-432D-AF37-23EA69F8E407}"/>
          </ac:spMkLst>
        </pc:spChg>
        <pc:spChg chg="mod">
          <ac:chgData name="Vallepalli, Thandava" userId="61f37ead-8e94-430f-ab46-1cf20f09dc50" providerId="ADAL" clId="{4BB7D6F2-DA5E-4636-B826-4EE2CDA30786}" dt="2021-10-05T12:09:33.646" v="2737" actId="20577"/>
          <ac:spMkLst>
            <pc:docMk/>
            <pc:sldMk cId="954719197" sldId="626"/>
            <ac:spMk id="32" creationId="{4FF11002-B964-43F5-8C65-73B4728BED3E}"/>
          </ac:spMkLst>
        </pc:spChg>
        <pc:spChg chg="mod">
          <ac:chgData name="Vallepalli, Thandava" userId="61f37ead-8e94-430f-ab46-1cf20f09dc50" providerId="ADAL" clId="{4BB7D6F2-DA5E-4636-B826-4EE2CDA30786}" dt="2021-10-05T00:04:06.305" v="1343" actId="6549"/>
          <ac:spMkLst>
            <pc:docMk/>
            <pc:sldMk cId="954719197" sldId="626"/>
            <ac:spMk id="33" creationId="{470EBE62-A7D3-465D-8B39-050A9773A877}"/>
          </ac:spMkLst>
        </pc:spChg>
      </pc:sldChg>
      <pc:sldChg chg="addCm delCm modCm">
        <pc:chgData name="Vallepalli, Thandava" userId="61f37ead-8e94-430f-ab46-1cf20f09dc50" providerId="ADAL" clId="{4BB7D6F2-DA5E-4636-B826-4EE2CDA30786}" dt="2021-10-05T03:41:40.316" v="1492" actId="1592"/>
        <pc:sldMkLst>
          <pc:docMk/>
          <pc:sldMk cId="1996427620" sldId="634"/>
        </pc:sldMkLst>
      </pc:sldChg>
      <pc:sldChg chg="modSp mod">
        <pc:chgData name="Vallepalli, Thandava" userId="61f37ead-8e94-430f-ab46-1cf20f09dc50" providerId="ADAL" clId="{4BB7D6F2-DA5E-4636-B826-4EE2CDA30786}" dt="2021-10-08T12:57:19.603" v="2861" actId="20577"/>
        <pc:sldMkLst>
          <pc:docMk/>
          <pc:sldMk cId="3783079273" sldId="650"/>
        </pc:sldMkLst>
        <pc:graphicFrameChg chg="mod modGraphic">
          <ac:chgData name="Vallepalli, Thandava" userId="61f37ead-8e94-430f-ab46-1cf20f09dc50" providerId="ADAL" clId="{4BB7D6F2-DA5E-4636-B826-4EE2CDA30786}" dt="2021-10-08T12:57:19.603" v="2861" actId="20577"/>
          <ac:graphicFrameMkLst>
            <pc:docMk/>
            <pc:sldMk cId="3783079273" sldId="650"/>
            <ac:graphicFrameMk id="5" creationId="{90CCA062-A7F0-4C93-A28E-71B91C36E2E6}"/>
          </ac:graphicFrameMkLst>
        </pc:graphicFrameChg>
      </pc:sldChg>
      <pc:sldChg chg="ord">
        <pc:chgData name="Vallepalli, Thandava" userId="61f37ead-8e94-430f-ab46-1cf20f09dc50" providerId="ADAL" clId="{4BB7D6F2-DA5E-4636-B826-4EE2CDA30786}" dt="2021-10-04T11:56:37.600" v="730"/>
        <pc:sldMkLst>
          <pc:docMk/>
          <pc:sldMk cId="486616187" sldId="777"/>
        </pc:sldMkLst>
      </pc:sldChg>
      <pc:sldChg chg="addSp delSp modSp mod addCm delCm modCm">
        <pc:chgData name="Vallepalli, Thandava" userId="61f37ead-8e94-430f-ab46-1cf20f09dc50" providerId="ADAL" clId="{4BB7D6F2-DA5E-4636-B826-4EE2CDA30786}" dt="2021-10-04T20:36:50.904" v="1077" actId="20577"/>
        <pc:sldMkLst>
          <pc:docMk/>
          <pc:sldMk cId="4091445756" sldId="799"/>
        </pc:sldMkLst>
        <pc:spChg chg="mod">
          <ac:chgData name="Vallepalli, Thandava" userId="61f37ead-8e94-430f-ab46-1cf20f09dc50" providerId="ADAL" clId="{4BB7D6F2-DA5E-4636-B826-4EE2CDA30786}" dt="2021-10-04T20:36:50.904" v="1077" actId="20577"/>
          <ac:spMkLst>
            <pc:docMk/>
            <pc:sldMk cId="4091445756" sldId="799"/>
            <ac:spMk id="2" creationId="{00000000-0000-0000-0000-000000000000}"/>
          </ac:spMkLst>
        </pc:spChg>
        <pc:spChg chg="add del mod">
          <ac:chgData name="Vallepalli, Thandava" userId="61f37ead-8e94-430f-ab46-1cf20f09dc50" providerId="ADAL" clId="{4BB7D6F2-DA5E-4636-B826-4EE2CDA30786}" dt="2021-10-04T20:35:39.329" v="1042" actId="478"/>
          <ac:spMkLst>
            <pc:docMk/>
            <pc:sldMk cId="4091445756" sldId="799"/>
            <ac:spMk id="3" creationId="{F2429749-781A-46E5-877A-6A49053FF90D}"/>
          </ac:spMkLst>
        </pc:spChg>
        <pc:spChg chg="add del mod">
          <ac:chgData name="Vallepalli, Thandava" userId="61f37ead-8e94-430f-ab46-1cf20f09dc50" providerId="ADAL" clId="{4BB7D6F2-DA5E-4636-B826-4EE2CDA30786}" dt="2021-10-04T20:35:43.068" v="1043" actId="478"/>
          <ac:spMkLst>
            <pc:docMk/>
            <pc:sldMk cId="4091445756" sldId="799"/>
            <ac:spMk id="7" creationId="{9C32E952-3BD9-42C7-9972-A8E377B4690A}"/>
          </ac:spMkLst>
        </pc:spChg>
        <pc:spChg chg="add del mod">
          <ac:chgData name="Vallepalli, Thandava" userId="61f37ead-8e94-430f-ab46-1cf20f09dc50" providerId="ADAL" clId="{4BB7D6F2-DA5E-4636-B826-4EE2CDA30786}" dt="2021-10-04T20:35:50.456" v="1046" actId="478"/>
          <ac:spMkLst>
            <pc:docMk/>
            <pc:sldMk cId="4091445756" sldId="799"/>
            <ac:spMk id="8" creationId="{CC0C0214-AEA9-4784-B7A2-429CD5082A9F}"/>
          </ac:spMkLst>
        </pc:spChg>
        <pc:picChg chg="del mod">
          <ac:chgData name="Vallepalli, Thandava" userId="61f37ead-8e94-430f-ab46-1cf20f09dc50" providerId="ADAL" clId="{4BB7D6F2-DA5E-4636-B826-4EE2CDA30786}" dt="2021-10-04T20:35:37.074" v="1041" actId="478"/>
          <ac:picMkLst>
            <pc:docMk/>
            <pc:sldMk cId="4091445756" sldId="799"/>
            <ac:picMk id="4" creationId="{95832135-93D2-4E13-9C4F-A00B61114956}"/>
          </ac:picMkLst>
        </pc:picChg>
        <pc:picChg chg="add mod">
          <ac:chgData name="Vallepalli, Thandava" userId="61f37ead-8e94-430f-ab46-1cf20f09dc50" providerId="ADAL" clId="{4BB7D6F2-DA5E-4636-B826-4EE2CDA30786}" dt="2021-10-04T20:36:08.542" v="1052" actId="1035"/>
          <ac:picMkLst>
            <pc:docMk/>
            <pc:sldMk cId="4091445756" sldId="799"/>
            <ac:picMk id="9" creationId="{847940F2-9370-432A-ADCF-F973FE022594}"/>
          </ac:picMkLst>
        </pc:picChg>
        <pc:cxnChg chg="add del mod">
          <ac:chgData name="Vallepalli, Thandava" userId="61f37ead-8e94-430f-ab46-1cf20f09dc50" providerId="ADAL" clId="{4BB7D6F2-DA5E-4636-B826-4EE2CDA30786}" dt="2021-10-04T20:35:45.408" v="1044" actId="478"/>
          <ac:cxnSpMkLst>
            <pc:docMk/>
            <pc:sldMk cId="4091445756" sldId="799"/>
            <ac:cxnSpMk id="6" creationId="{66122543-41E6-48A8-80B4-CF0C2BDF36FA}"/>
          </ac:cxnSpMkLst>
        </pc:cxnChg>
        <pc:cxnChg chg="add del mod">
          <ac:chgData name="Vallepalli, Thandava" userId="61f37ead-8e94-430f-ab46-1cf20f09dc50" providerId="ADAL" clId="{4BB7D6F2-DA5E-4636-B826-4EE2CDA30786}" dt="2021-10-04T20:35:47.572" v="1045" actId="478"/>
          <ac:cxnSpMkLst>
            <pc:docMk/>
            <pc:sldMk cId="4091445756" sldId="799"/>
            <ac:cxnSpMk id="10" creationId="{F10BCE91-6DC7-4F33-9A5C-1E6153AFC316}"/>
          </ac:cxnSpMkLst>
        </pc:cxnChg>
      </pc:sldChg>
      <pc:sldChg chg="addSp delSp modSp mod addCm delCm modCm">
        <pc:chgData name="Vallepalli, Thandava" userId="61f37ead-8e94-430f-ab46-1cf20f09dc50" providerId="ADAL" clId="{4BB7D6F2-DA5E-4636-B826-4EE2CDA30786}" dt="2021-10-05T12:53:18.804" v="2746" actId="1076"/>
        <pc:sldMkLst>
          <pc:docMk/>
          <pc:sldMk cId="919561804" sldId="800"/>
        </pc:sldMkLst>
        <pc:spChg chg="mod">
          <ac:chgData name="Vallepalli, Thandava" userId="61f37ead-8e94-430f-ab46-1cf20f09dc50" providerId="ADAL" clId="{4BB7D6F2-DA5E-4636-B826-4EE2CDA30786}" dt="2021-10-04T17:12:12.143" v="735" actId="20577"/>
          <ac:spMkLst>
            <pc:docMk/>
            <pc:sldMk cId="919561804" sldId="800"/>
            <ac:spMk id="2" creationId="{00000000-0000-0000-0000-000000000000}"/>
          </ac:spMkLst>
        </pc:spChg>
        <pc:picChg chg="add del mod">
          <ac:chgData name="Vallepalli, Thandava" userId="61f37ead-8e94-430f-ab46-1cf20f09dc50" providerId="ADAL" clId="{4BB7D6F2-DA5E-4636-B826-4EE2CDA30786}" dt="2021-10-04T17:23:32.274" v="744" actId="478"/>
          <ac:picMkLst>
            <pc:docMk/>
            <pc:sldMk cId="919561804" sldId="800"/>
            <ac:picMk id="4" creationId="{C2D4A9A6-2F61-4D59-9D7E-3F88551FF7C6}"/>
          </ac:picMkLst>
        </pc:picChg>
        <pc:picChg chg="del">
          <ac:chgData name="Vallepalli, Thandava" userId="61f37ead-8e94-430f-ab46-1cf20f09dc50" providerId="ADAL" clId="{4BB7D6F2-DA5E-4636-B826-4EE2CDA30786}" dt="2021-10-04T17:15:07.565" v="737" actId="478"/>
          <ac:picMkLst>
            <pc:docMk/>
            <pc:sldMk cId="919561804" sldId="800"/>
            <ac:picMk id="6" creationId="{9D86040D-C1EF-4FF6-89D9-86B8505A5C2B}"/>
          </ac:picMkLst>
        </pc:picChg>
        <pc:picChg chg="add del mod">
          <ac:chgData name="Vallepalli, Thandava" userId="61f37ead-8e94-430f-ab46-1cf20f09dc50" providerId="ADAL" clId="{4BB7D6F2-DA5E-4636-B826-4EE2CDA30786}" dt="2021-10-04T17:48:50.480" v="749" actId="478"/>
          <ac:picMkLst>
            <pc:docMk/>
            <pc:sldMk cId="919561804" sldId="800"/>
            <ac:picMk id="7" creationId="{B58445EE-CC58-423E-BE39-393EF35D12BC}"/>
          </ac:picMkLst>
        </pc:picChg>
        <pc:picChg chg="add del mod">
          <ac:chgData name="Vallepalli, Thandava" userId="61f37ead-8e94-430f-ab46-1cf20f09dc50" providerId="ADAL" clId="{4BB7D6F2-DA5E-4636-B826-4EE2CDA30786}" dt="2021-10-04T20:38:26.666" v="1078" actId="478"/>
          <ac:picMkLst>
            <pc:docMk/>
            <pc:sldMk cId="919561804" sldId="800"/>
            <ac:picMk id="9" creationId="{129D7C85-F2B6-4ED4-B0DA-8241EAD53911}"/>
          </ac:picMkLst>
        </pc:picChg>
        <pc:picChg chg="add del mod">
          <ac:chgData name="Vallepalli, Thandava" userId="61f37ead-8e94-430f-ab46-1cf20f09dc50" providerId="ADAL" clId="{4BB7D6F2-DA5E-4636-B826-4EE2CDA30786}" dt="2021-10-05T12:50:56.071" v="2738" actId="478"/>
          <ac:picMkLst>
            <pc:docMk/>
            <pc:sldMk cId="919561804" sldId="800"/>
            <ac:picMk id="11" creationId="{AE7833C9-8FA9-4F02-A559-5FDA3134624F}"/>
          </ac:picMkLst>
        </pc:picChg>
        <pc:picChg chg="add del mod">
          <ac:chgData name="Vallepalli, Thandava" userId="61f37ead-8e94-430f-ab46-1cf20f09dc50" providerId="ADAL" clId="{4BB7D6F2-DA5E-4636-B826-4EE2CDA30786}" dt="2021-10-05T12:53:05.826" v="2743" actId="478"/>
          <ac:picMkLst>
            <pc:docMk/>
            <pc:sldMk cId="919561804" sldId="800"/>
            <ac:picMk id="13" creationId="{1C2638EC-F20A-402E-A0AE-510785445697}"/>
          </ac:picMkLst>
        </pc:picChg>
        <pc:picChg chg="add mod">
          <ac:chgData name="Vallepalli, Thandava" userId="61f37ead-8e94-430f-ab46-1cf20f09dc50" providerId="ADAL" clId="{4BB7D6F2-DA5E-4636-B826-4EE2CDA30786}" dt="2021-10-05T12:53:18.804" v="2746" actId="1076"/>
          <ac:picMkLst>
            <pc:docMk/>
            <pc:sldMk cId="919561804" sldId="800"/>
            <ac:picMk id="15" creationId="{43551EAA-F47F-4DF9-AA52-1CAED11F79E0}"/>
          </ac:picMkLst>
        </pc:picChg>
      </pc:sldChg>
      <pc:sldChg chg="addSp delSp modSp mod ord addCm modCm">
        <pc:chgData name="Vallepalli, Thandava" userId="61f37ead-8e94-430f-ab46-1cf20f09dc50" providerId="ADAL" clId="{4BB7D6F2-DA5E-4636-B826-4EE2CDA30786}" dt="2021-10-05T00:52:06.738" v="1345"/>
        <pc:sldMkLst>
          <pc:docMk/>
          <pc:sldMk cId="2808331590" sldId="801"/>
        </pc:sldMkLst>
        <pc:spChg chg="mod">
          <ac:chgData name="Vallepalli, Thandava" userId="61f37ead-8e94-430f-ab46-1cf20f09dc50" providerId="ADAL" clId="{4BB7D6F2-DA5E-4636-B826-4EE2CDA30786}" dt="2021-09-21T11:21:06.093" v="71" actId="20577"/>
          <ac:spMkLst>
            <pc:docMk/>
            <pc:sldMk cId="2808331590" sldId="801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4BB7D6F2-DA5E-4636-B826-4EE2CDA30786}" dt="2021-09-21T11:16:40.625" v="37" actId="478"/>
          <ac:picMkLst>
            <pc:docMk/>
            <pc:sldMk cId="2808331590" sldId="801"/>
            <ac:picMk id="4" creationId="{95832135-93D2-4E13-9C4F-A00B61114956}"/>
          </ac:picMkLst>
        </pc:picChg>
        <pc:picChg chg="add mod">
          <ac:chgData name="Vallepalli, Thandava" userId="61f37ead-8e94-430f-ab46-1cf20f09dc50" providerId="ADAL" clId="{4BB7D6F2-DA5E-4636-B826-4EE2CDA30786}" dt="2021-09-21T11:16:44.131" v="39" actId="1076"/>
          <ac:picMkLst>
            <pc:docMk/>
            <pc:sldMk cId="2808331590" sldId="801"/>
            <ac:picMk id="5" creationId="{BB891A14-5E7F-47A3-9F58-51CF28270503}"/>
          </ac:picMkLst>
        </pc:picChg>
      </pc:sldChg>
      <pc:sldChg chg="addSp delSp modSp mod">
        <pc:chgData name="Vallepalli, Thandava" userId="61f37ead-8e94-430f-ab46-1cf20f09dc50" providerId="ADAL" clId="{4BB7D6F2-DA5E-4636-B826-4EE2CDA30786}" dt="2021-10-04T23:07:13.669" v="1237" actId="20577"/>
        <pc:sldMkLst>
          <pc:docMk/>
          <pc:sldMk cId="1009707844" sldId="802"/>
        </pc:sldMkLst>
        <pc:spChg chg="mod">
          <ac:chgData name="Vallepalli, Thandava" userId="61f37ead-8e94-430f-ab46-1cf20f09dc50" providerId="ADAL" clId="{4BB7D6F2-DA5E-4636-B826-4EE2CDA30786}" dt="2021-10-04T23:07:13.669" v="1237" actId="20577"/>
          <ac:spMkLst>
            <pc:docMk/>
            <pc:sldMk cId="1009707844" sldId="802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4BB7D6F2-DA5E-4636-B826-4EE2CDA30786}" dt="2021-09-20T11:47:23.169" v="0" actId="478"/>
          <ac:picMkLst>
            <pc:docMk/>
            <pc:sldMk cId="1009707844" sldId="802"/>
            <ac:picMk id="4" creationId="{95832135-93D2-4E13-9C4F-A00B61114956}"/>
          </ac:picMkLst>
        </pc:picChg>
        <pc:picChg chg="add mod">
          <ac:chgData name="Vallepalli, Thandava" userId="61f37ead-8e94-430f-ab46-1cf20f09dc50" providerId="ADAL" clId="{4BB7D6F2-DA5E-4636-B826-4EE2CDA30786}" dt="2021-09-20T11:48:40.657" v="36" actId="1036"/>
          <ac:picMkLst>
            <pc:docMk/>
            <pc:sldMk cId="1009707844" sldId="802"/>
            <ac:picMk id="5" creationId="{2F35BED6-E955-4752-B039-2D4DD9A9797E}"/>
          </ac:picMkLst>
        </pc:picChg>
      </pc:sldChg>
      <pc:sldChg chg="ord">
        <pc:chgData name="Vallepalli, Thandava" userId="61f37ead-8e94-430f-ab46-1cf20f09dc50" providerId="ADAL" clId="{4BB7D6F2-DA5E-4636-B826-4EE2CDA30786}" dt="2021-10-04T13:54:48.954" v="732"/>
        <pc:sldMkLst>
          <pc:docMk/>
          <pc:sldMk cId="1577157785" sldId="803"/>
        </pc:sldMkLst>
      </pc:sldChg>
      <pc:sldChg chg="addSp delSp modSp mod addCm delCm modCm">
        <pc:chgData name="Vallepalli, Thandava" userId="61f37ead-8e94-430f-ab46-1cf20f09dc50" providerId="ADAL" clId="{4BB7D6F2-DA5E-4636-B826-4EE2CDA30786}" dt="2021-10-05T11:49:20.586" v="2668" actId="1076"/>
        <pc:sldMkLst>
          <pc:docMk/>
          <pc:sldMk cId="1772705188" sldId="805"/>
        </pc:sldMkLst>
        <pc:spChg chg="mod">
          <ac:chgData name="Vallepalli, Thandava" userId="61f37ead-8e94-430f-ab46-1cf20f09dc50" providerId="ADAL" clId="{4BB7D6F2-DA5E-4636-B826-4EE2CDA30786}" dt="2021-10-04T20:14:57.597" v="1039" actId="20577"/>
          <ac:spMkLst>
            <pc:docMk/>
            <pc:sldMk cId="1772705188" sldId="805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4BB7D6F2-DA5E-4636-B826-4EE2CDA30786}" dt="2021-10-04T23:11:30.305" v="1296" actId="478"/>
          <ac:picMkLst>
            <pc:docMk/>
            <pc:sldMk cId="1772705188" sldId="805"/>
            <ac:picMk id="9" creationId="{B5BD5357-BDC1-4E53-80FE-20AB6DB9E1AC}"/>
          </ac:picMkLst>
        </pc:picChg>
        <pc:picChg chg="add del mod">
          <ac:chgData name="Vallepalli, Thandava" userId="61f37ead-8e94-430f-ab46-1cf20f09dc50" providerId="ADAL" clId="{4BB7D6F2-DA5E-4636-B826-4EE2CDA30786}" dt="2021-10-05T11:49:08.561" v="2665" actId="478"/>
          <ac:picMkLst>
            <pc:docMk/>
            <pc:sldMk cId="1772705188" sldId="805"/>
            <ac:picMk id="10" creationId="{9F7DC3BA-7F80-4CDF-9C5A-D1320327A4FD}"/>
          </ac:picMkLst>
        </pc:picChg>
        <pc:picChg chg="add mod">
          <ac:chgData name="Vallepalli, Thandava" userId="61f37ead-8e94-430f-ab46-1cf20f09dc50" providerId="ADAL" clId="{4BB7D6F2-DA5E-4636-B826-4EE2CDA30786}" dt="2021-10-05T11:49:20.586" v="2668" actId="1076"/>
          <ac:picMkLst>
            <pc:docMk/>
            <pc:sldMk cId="1772705188" sldId="805"/>
            <ac:picMk id="12" creationId="{EBE6C96D-D8B2-45FE-9FBE-B9259F00036D}"/>
          </ac:picMkLst>
        </pc:picChg>
      </pc:sldChg>
      <pc:sldChg chg="ord addCm modCm">
        <pc:chgData name="Vallepalli, Thandava" userId="61f37ead-8e94-430f-ab46-1cf20f09dc50" providerId="ADAL" clId="{4BB7D6F2-DA5E-4636-B826-4EE2CDA30786}" dt="2021-10-04T13:55:49.931" v="734"/>
        <pc:sldMkLst>
          <pc:docMk/>
          <pc:sldMk cId="1235282081" sldId="806"/>
        </pc:sldMkLst>
      </pc:sldChg>
      <pc:sldChg chg="del">
        <pc:chgData name="Vallepalli, Thandava" userId="61f37ead-8e94-430f-ab46-1cf20f09dc50" providerId="ADAL" clId="{4BB7D6F2-DA5E-4636-B826-4EE2CDA30786}" dt="2021-10-04T11:29:36.630" v="726" actId="47"/>
        <pc:sldMkLst>
          <pc:docMk/>
          <pc:sldMk cId="2135273720" sldId="807"/>
        </pc:sldMkLst>
      </pc:sldChg>
      <pc:sldChg chg="ord">
        <pc:chgData name="Vallepalli, Thandava" userId="61f37ead-8e94-430f-ab46-1cf20f09dc50" providerId="ADAL" clId="{4BB7D6F2-DA5E-4636-B826-4EE2CDA30786}" dt="2021-10-05T11:32:00.964" v="2663"/>
        <pc:sldMkLst>
          <pc:docMk/>
          <pc:sldMk cId="1639188097" sldId="809"/>
        </pc:sldMkLst>
      </pc:sldChg>
      <pc:sldChg chg="addSp delSp modSp add mod ord">
        <pc:chgData name="Vallepalli, Thandava" userId="61f37ead-8e94-430f-ab46-1cf20f09dc50" providerId="ADAL" clId="{4BB7D6F2-DA5E-4636-B826-4EE2CDA30786}" dt="2021-10-04T11:29:13.419" v="725"/>
        <pc:sldMkLst>
          <pc:docMk/>
          <pc:sldMk cId="2972319091" sldId="810"/>
        </pc:sldMkLst>
        <pc:spChg chg="mod">
          <ac:chgData name="Vallepalli, Thandava" userId="61f37ead-8e94-430f-ab46-1cf20f09dc50" providerId="ADAL" clId="{4BB7D6F2-DA5E-4636-B826-4EE2CDA30786}" dt="2021-09-21T11:21:12.291" v="72"/>
          <ac:spMkLst>
            <pc:docMk/>
            <pc:sldMk cId="2972319091" sldId="810"/>
            <ac:spMk id="2" creationId="{00000000-0000-0000-0000-000000000000}"/>
          </ac:spMkLst>
        </pc:spChg>
        <pc:picChg chg="add mod">
          <ac:chgData name="Vallepalli, Thandava" userId="61f37ead-8e94-430f-ab46-1cf20f09dc50" providerId="ADAL" clId="{4BB7D6F2-DA5E-4636-B826-4EE2CDA30786}" dt="2021-09-21T11:20:50.824" v="44" actId="1076"/>
          <ac:picMkLst>
            <pc:docMk/>
            <pc:sldMk cId="2972319091" sldId="810"/>
            <ac:picMk id="4" creationId="{966EBEF1-349A-4749-AE23-745B4350229A}"/>
          </ac:picMkLst>
        </pc:picChg>
        <pc:picChg chg="del">
          <ac:chgData name="Vallepalli, Thandava" userId="61f37ead-8e94-430f-ab46-1cf20f09dc50" providerId="ADAL" clId="{4BB7D6F2-DA5E-4636-B826-4EE2CDA30786}" dt="2021-09-21T11:20:41.691" v="41" actId="478"/>
          <ac:picMkLst>
            <pc:docMk/>
            <pc:sldMk cId="2972319091" sldId="810"/>
            <ac:picMk id="5" creationId="{BB891A14-5E7F-47A3-9F58-51CF28270503}"/>
          </ac:picMkLst>
        </pc:picChg>
      </pc:sldChg>
      <pc:sldChg chg="modSp mod">
        <pc:chgData name="Vallepalli, Thandava" userId="61f37ead-8e94-430f-ab46-1cf20f09dc50" providerId="ADAL" clId="{4BB7D6F2-DA5E-4636-B826-4EE2CDA30786}" dt="2021-10-04T10:11:20.491" v="164" actId="20577"/>
        <pc:sldMkLst>
          <pc:docMk/>
          <pc:sldMk cId="2333701982" sldId="811"/>
        </pc:sldMkLst>
        <pc:spChg chg="mod">
          <ac:chgData name="Vallepalli, Thandava" userId="61f37ead-8e94-430f-ab46-1cf20f09dc50" providerId="ADAL" clId="{4BB7D6F2-DA5E-4636-B826-4EE2CDA30786}" dt="2021-10-04T10:11:20.491" v="164" actId="20577"/>
          <ac:spMkLst>
            <pc:docMk/>
            <pc:sldMk cId="2333701982" sldId="811"/>
            <ac:spMk id="4" creationId="{00000000-0000-0000-0000-000000000000}"/>
          </ac:spMkLst>
        </pc:spChg>
      </pc:sldChg>
      <pc:sldChg chg="addSp delSp modSp mod modClrScheme chgLayout modNotesTx">
        <pc:chgData name="Vallepalli, Thandava" userId="61f37ead-8e94-430f-ab46-1cf20f09dc50" providerId="ADAL" clId="{4BB7D6F2-DA5E-4636-B826-4EE2CDA30786}" dt="2021-10-05T03:42:01.703" v="1493" actId="313"/>
        <pc:sldMkLst>
          <pc:docMk/>
          <pc:sldMk cId="2592576761" sldId="812"/>
        </pc:sldMkLst>
        <pc:spChg chg="mod">
          <ac:chgData name="Vallepalli, Thandava" userId="61f37ead-8e94-430f-ab46-1cf20f09dc50" providerId="ADAL" clId="{4BB7D6F2-DA5E-4636-B826-4EE2CDA30786}" dt="2021-10-05T03:30:22.657" v="1414" actId="26606"/>
          <ac:spMkLst>
            <pc:docMk/>
            <pc:sldMk cId="2592576761" sldId="812"/>
            <ac:spMk id="2" creationId="{00000000-0000-0000-0000-000000000000}"/>
          </ac:spMkLst>
        </pc:spChg>
        <pc:spChg chg="add del mod">
          <ac:chgData name="Vallepalli, Thandava" userId="61f37ead-8e94-430f-ab46-1cf20f09dc50" providerId="ADAL" clId="{4BB7D6F2-DA5E-4636-B826-4EE2CDA30786}" dt="2021-10-05T03:21:43.982" v="1370" actId="478"/>
          <ac:spMkLst>
            <pc:docMk/>
            <pc:sldMk cId="2592576761" sldId="812"/>
            <ac:spMk id="3" creationId="{CDC45D6B-7061-4464-8F75-DC20FC5FAA58}"/>
          </ac:spMkLst>
        </pc:spChg>
        <pc:spChg chg="mod">
          <ac:chgData name="Vallepalli, Thandava" userId="61f37ead-8e94-430f-ab46-1cf20f09dc50" providerId="ADAL" clId="{4BB7D6F2-DA5E-4636-B826-4EE2CDA30786}" dt="2021-10-04T19:57:04.109" v="834" actId="20577"/>
          <ac:spMkLst>
            <pc:docMk/>
            <pc:sldMk cId="2592576761" sldId="812"/>
            <ac:spMk id="15" creationId="{07F4E581-932C-4B15-9D78-3B695B0FDBED}"/>
          </ac:spMkLst>
        </pc:spChg>
        <pc:spChg chg="mod">
          <ac:chgData name="Vallepalli, Thandava" userId="61f37ead-8e94-430f-ab46-1cf20f09dc50" providerId="ADAL" clId="{4BB7D6F2-DA5E-4636-B826-4EE2CDA30786}" dt="2021-10-05T02:26:39.365" v="1364" actId="1076"/>
          <ac:spMkLst>
            <pc:docMk/>
            <pc:sldMk cId="2592576761" sldId="812"/>
            <ac:spMk id="20" creationId="{0656C9A0-5455-41F6-A50C-A4110A70B51B}"/>
          </ac:spMkLst>
        </pc:spChg>
        <pc:spChg chg="del mod">
          <ac:chgData name="Vallepalli, Thandava" userId="61f37ead-8e94-430f-ab46-1cf20f09dc50" providerId="ADAL" clId="{4BB7D6F2-DA5E-4636-B826-4EE2CDA30786}" dt="2021-10-05T00:56:24.046" v="1363" actId="478"/>
          <ac:spMkLst>
            <pc:docMk/>
            <pc:sldMk cId="2592576761" sldId="812"/>
            <ac:spMk id="21" creationId="{6BE03207-D056-436B-AA04-BA432AA9B595}"/>
          </ac:spMkLst>
        </pc:spChg>
        <pc:spChg chg="mod">
          <ac:chgData name="Vallepalli, Thandava" userId="61f37ead-8e94-430f-ab46-1cf20f09dc50" providerId="ADAL" clId="{4BB7D6F2-DA5E-4636-B826-4EE2CDA30786}" dt="2021-10-04T19:57:29.315" v="881" actId="20577"/>
          <ac:spMkLst>
            <pc:docMk/>
            <pc:sldMk cId="2592576761" sldId="812"/>
            <ac:spMk id="33" creationId="{833029D8-3F88-4F1A-A23D-DC6C094ECEFB}"/>
          </ac:spMkLst>
        </pc:spChg>
        <pc:spChg chg="add del mod">
          <ac:chgData name="Vallepalli, Thandava" userId="61f37ead-8e94-430f-ab46-1cf20f09dc50" providerId="ADAL" clId="{4BB7D6F2-DA5E-4636-B826-4EE2CDA30786}" dt="2021-10-05T03:30:22.657" v="1414" actId="26606"/>
          <ac:spMkLst>
            <pc:docMk/>
            <pc:sldMk cId="2592576761" sldId="812"/>
            <ac:spMk id="40" creationId="{900DF33D-DB9B-4881-904A-82DDD7592201}"/>
          </ac:spMkLst>
        </pc:spChg>
        <pc:spChg chg="add del mod">
          <ac:chgData name="Vallepalli, Thandava" userId="61f37ead-8e94-430f-ab46-1cf20f09dc50" providerId="ADAL" clId="{4BB7D6F2-DA5E-4636-B826-4EE2CDA30786}" dt="2021-10-05T03:30:33.238" v="1415" actId="478"/>
          <ac:spMkLst>
            <pc:docMk/>
            <pc:sldMk cId="2592576761" sldId="812"/>
            <ac:spMk id="42" creationId="{AB20A525-A1A3-4F56-8B61-D266A3EAE189}"/>
          </ac:spMkLst>
        </pc:spChg>
        <pc:spChg chg="add del mod">
          <ac:chgData name="Vallepalli, Thandava" userId="61f37ead-8e94-430f-ab46-1cf20f09dc50" providerId="ADAL" clId="{4BB7D6F2-DA5E-4636-B826-4EE2CDA30786}" dt="2021-10-05T03:30:07.454" v="1412" actId="26606"/>
          <ac:spMkLst>
            <pc:docMk/>
            <pc:sldMk cId="2592576761" sldId="812"/>
            <ac:spMk id="45" creationId="{AC4627F6-9E4F-4596-875B-420AE1F5A995}"/>
          </ac:spMkLst>
        </pc:spChg>
        <pc:spChg chg="add del mod">
          <ac:chgData name="Vallepalli, Thandava" userId="61f37ead-8e94-430f-ab46-1cf20f09dc50" providerId="ADAL" clId="{4BB7D6F2-DA5E-4636-B826-4EE2CDA30786}" dt="2021-10-05T03:30:07.454" v="1412" actId="26606"/>
          <ac:spMkLst>
            <pc:docMk/>
            <pc:sldMk cId="2592576761" sldId="812"/>
            <ac:spMk id="47" creationId="{217B6590-5537-475C-85A9-EFD5A3DD10C6}"/>
          </ac:spMkLst>
        </pc:spChg>
        <pc:spChg chg="add del mod">
          <ac:chgData name="Vallepalli, Thandava" userId="61f37ead-8e94-430f-ab46-1cf20f09dc50" providerId="ADAL" clId="{4BB7D6F2-DA5E-4636-B826-4EE2CDA30786}" dt="2021-10-05T03:30:07.454" v="1412" actId="26606"/>
          <ac:spMkLst>
            <pc:docMk/>
            <pc:sldMk cId="2592576761" sldId="812"/>
            <ac:spMk id="49" creationId="{660A03E6-2EB4-4195-9D38-351515D90ADD}"/>
          </ac:spMkLst>
        </pc:spChg>
        <pc:grpChg chg="del">
          <ac:chgData name="Vallepalli, Thandava" userId="61f37ead-8e94-430f-ab46-1cf20f09dc50" providerId="ADAL" clId="{4BB7D6F2-DA5E-4636-B826-4EE2CDA30786}" dt="2021-10-05T03:20:16.116" v="1366" actId="478"/>
          <ac:grpSpMkLst>
            <pc:docMk/>
            <pc:sldMk cId="2592576761" sldId="812"/>
            <ac:grpSpMk id="4" creationId="{993CD107-5B7B-428E-B4BA-8C231115DA1C}"/>
          </ac:grpSpMkLst>
        </pc:grpChg>
        <pc:graphicFrameChg chg="add del mod modGraphic">
          <ac:chgData name="Vallepalli, Thandava" userId="61f37ead-8e94-430f-ab46-1cf20f09dc50" providerId="ADAL" clId="{4BB7D6F2-DA5E-4636-B826-4EE2CDA30786}" dt="2021-10-05T03:25:08.758" v="1396" actId="478"/>
          <ac:graphicFrameMkLst>
            <pc:docMk/>
            <pc:sldMk cId="2592576761" sldId="812"/>
            <ac:graphicFrameMk id="34" creationId="{D7F1B83E-F42E-41AE-ACD4-0BD010C8D62C}"/>
          </ac:graphicFrameMkLst>
        </pc:graphicFrameChg>
        <pc:graphicFrameChg chg="add del mod modGraphic">
          <ac:chgData name="Vallepalli, Thandava" userId="61f37ead-8e94-430f-ab46-1cf20f09dc50" providerId="ADAL" clId="{4BB7D6F2-DA5E-4636-B826-4EE2CDA30786}" dt="2021-10-05T03:27:24.884" v="1407" actId="478"/>
          <ac:graphicFrameMkLst>
            <pc:docMk/>
            <pc:sldMk cId="2592576761" sldId="812"/>
            <ac:graphicFrameMk id="35" creationId="{CC53EB3D-4801-49AE-A08C-1377C98AA78A}"/>
          </ac:graphicFrameMkLst>
        </pc:graphicFrameChg>
        <pc:graphicFrameChg chg="add mod">
          <ac:chgData name="Vallepalli, Thandava" userId="61f37ead-8e94-430f-ab46-1cf20f09dc50" providerId="ADAL" clId="{4BB7D6F2-DA5E-4636-B826-4EE2CDA30786}" dt="2021-10-05T03:30:07.454" v="1412" actId="26606"/>
          <ac:graphicFrameMkLst>
            <pc:docMk/>
            <pc:sldMk cId="2592576761" sldId="812"/>
            <ac:graphicFrameMk id="36" creationId="{7D8DBCC3-BDA9-4053-9CE2-D1E00B5256C1}"/>
          </ac:graphicFrameMkLst>
        </pc:graphicFrameChg>
        <pc:graphicFrameChg chg="add mod modGraphic">
          <ac:chgData name="Vallepalli, Thandava" userId="61f37ead-8e94-430f-ab46-1cf20f09dc50" providerId="ADAL" clId="{4BB7D6F2-DA5E-4636-B826-4EE2CDA30786}" dt="2021-10-05T03:42:01.703" v="1493" actId="313"/>
          <ac:graphicFrameMkLst>
            <pc:docMk/>
            <pc:sldMk cId="2592576761" sldId="812"/>
            <ac:graphicFrameMk id="37" creationId="{79206241-2EB1-48D4-BA5B-BCB626B1A05F}"/>
          </ac:graphicFrameMkLst>
        </pc:graphicFrameChg>
      </pc:sldChg>
      <pc:sldChg chg="add">
        <pc:chgData name="Vallepalli, Thandava" userId="61f37ead-8e94-430f-ab46-1cf20f09dc50" providerId="ADAL" clId="{4BB7D6F2-DA5E-4636-B826-4EE2CDA30786}" dt="2021-10-04T17:15:02.779" v="736"/>
        <pc:sldMkLst>
          <pc:docMk/>
          <pc:sldMk cId="2900461131" sldId="813"/>
        </pc:sldMkLst>
      </pc:sldChg>
      <pc:sldChg chg="add ord">
        <pc:chgData name="Vallepalli, Thandava" userId="61f37ead-8e94-430f-ab46-1cf20f09dc50" providerId="ADAL" clId="{4BB7D6F2-DA5E-4636-B826-4EE2CDA30786}" dt="2021-10-05T03:33:38.542" v="1491"/>
        <pc:sldMkLst>
          <pc:docMk/>
          <pc:sldMk cId="3130021415" sldId="814"/>
        </pc:sldMkLst>
      </pc:sldChg>
      <pc:sldChg chg="add">
        <pc:chgData name="Vallepalli, Thandava" userId="61f37ead-8e94-430f-ab46-1cf20f09dc50" providerId="ADAL" clId="{4BB7D6F2-DA5E-4636-B826-4EE2CDA30786}" dt="2021-10-08T12:51:03.697" v="2857" actId="2890"/>
        <pc:sldMkLst>
          <pc:docMk/>
          <pc:sldMk cId="2171301364" sldId="815"/>
        </pc:sldMkLst>
      </pc:sldChg>
      <pc:sldChg chg="add del">
        <pc:chgData name="Vallepalli, Thandava" userId="61f37ead-8e94-430f-ab46-1cf20f09dc50" providerId="ADAL" clId="{4BB7D6F2-DA5E-4636-B826-4EE2CDA30786}" dt="2021-10-05T11:30:00.551" v="2603" actId="47"/>
        <pc:sldMkLst>
          <pc:docMk/>
          <pc:sldMk cId="3530289845" sldId="815"/>
        </pc:sldMkLst>
      </pc:sldChg>
      <pc:sldChg chg="modSp add del mod">
        <pc:chgData name="Vallepalli, Thandava" userId="61f37ead-8e94-430f-ab46-1cf20f09dc50" providerId="ADAL" clId="{4BB7D6F2-DA5E-4636-B826-4EE2CDA30786}" dt="2021-10-05T11:31:29.940" v="2661" actId="47"/>
        <pc:sldMkLst>
          <pc:docMk/>
          <pc:sldMk cId="4262438767" sldId="815"/>
        </pc:sldMkLst>
        <pc:graphicFrameChg chg="modGraphic">
          <ac:chgData name="Vallepalli, Thandava" userId="61f37ead-8e94-430f-ab46-1cf20f09dc50" providerId="ADAL" clId="{4BB7D6F2-DA5E-4636-B826-4EE2CDA30786}" dt="2021-10-05T11:30:55.273" v="2660" actId="20577"/>
          <ac:graphicFrameMkLst>
            <pc:docMk/>
            <pc:sldMk cId="4262438767" sldId="815"/>
            <ac:graphicFrameMk id="5" creationId="{90CCA062-A7F0-4C93-A28E-71B91C36E2E6}"/>
          </ac:graphicFrameMkLst>
        </pc:graphicFrameChg>
      </pc:sldChg>
    </pc:docChg>
  </pc:docChgLst>
  <pc:docChgLst>
    <pc:chgData name="Thotakura, Ashok" userId="8def16fa-05a4-42f6-9097-35114c55c601" providerId="ADAL" clId="{85753C2B-84F5-4363-8313-EB23A698D512}"/>
    <pc:docChg chg="custSel modSld">
      <pc:chgData name="Thotakura, Ashok" userId="8def16fa-05a4-42f6-9097-35114c55c601" providerId="ADAL" clId="{85753C2B-84F5-4363-8313-EB23A698D512}" dt="2021-01-18T09:31:56.801" v="103"/>
      <pc:docMkLst>
        <pc:docMk/>
      </pc:docMkLst>
      <pc:sldChg chg="delSp modSp">
        <pc:chgData name="Thotakura, Ashok" userId="8def16fa-05a4-42f6-9097-35114c55c601" providerId="ADAL" clId="{85753C2B-84F5-4363-8313-EB23A698D512}" dt="2021-01-12T07:03:30.976" v="98" actId="1076"/>
        <pc:sldMkLst>
          <pc:docMk/>
          <pc:sldMk cId="1764304501" sldId="473"/>
        </pc:sldMkLst>
        <pc:picChg chg="mod">
          <ac:chgData name="Thotakura, Ashok" userId="8def16fa-05a4-42f6-9097-35114c55c601" providerId="ADAL" clId="{85753C2B-84F5-4363-8313-EB23A698D512}" dt="2021-01-12T07:03:30.976" v="98" actId="1076"/>
          <ac:picMkLst>
            <pc:docMk/>
            <pc:sldMk cId="1764304501" sldId="473"/>
            <ac:picMk id="8" creationId="{DF757A7C-A4F6-4A95-BE59-98EDE9080E35}"/>
          </ac:picMkLst>
        </pc:picChg>
        <pc:inkChg chg="del">
          <ac:chgData name="Thotakura, Ashok" userId="8def16fa-05a4-42f6-9097-35114c55c601" providerId="ADAL" clId="{85753C2B-84F5-4363-8313-EB23A698D512}" dt="2021-01-12T07:03:23.708" v="97" actId="478"/>
          <ac:inkMkLst>
            <pc:docMk/>
            <pc:sldMk cId="1764304501" sldId="473"/>
            <ac:inkMk id="4" creationId="{F196C4B4-6FE3-4873-A3B4-0BE7F2F71266}"/>
          </ac:inkMkLst>
        </pc:inkChg>
      </pc:sldChg>
      <pc:sldChg chg="modSp">
        <pc:chgData name="Thotakura, Ashok" userId="8def16fa-05a4-42f6-9097-35114c55c601" providerId="ADAL" clId="{85753C2B-84F5-4363-8313-EB23A698D512}" dt="2021-01-12T07:00:22.315" v="93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85753C2B-84F5-4363-8313-EB23A698D512}" dt="2021-01-12T07:00:22.315" v="93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addSp delSp">
        <pc:chgData name="Thotakura, Ashok" userId="8def16fa-05a4-42f6-9097-35114c55c601" providerId="ADAL" clId="{85753C2B-84F5-4363-8313-EB23A698D512}" dt="2021-01-18T09:31:56.801" v="103"/>
        <pc:sldMkLst>
          <pc:docMk/>
          <pc:sldMk cId="1996427620" sldId="634"/>
        </pc:sldMkLst>
        <pc:picChg chg="add">
          <ac:chgData name="Thotakura, Ashok" userId="8def16fa-05a4-42f6-9097-35114c55c601" providerId="ADAL" clId="{85753C2B-84F5-4363-8313-EB23A698D512}" dt="2021-01-18T09:31:56.801" v="103"/>
          <ac:picMkLst>
            <pc:docMk/>
            <pc:sldMk cId="1996427620" sldId="634"/>
            <ac:picMk id="3" creationId="{2D83F3F0-8731-492B-AC04-128AFCA830A6}"/>
          </ac:picMkLst>
        </pc:picChg>
        <pc:picChg chg="del">
          <ac:chgData name="Thotakura, Ashok" userId="8def16fa-05a4-42f6-9097-35114c55c601" providerId="ADAL" clId="{85753C2B-84F5-4363-8313-EB23A698D512}" dt="2021-01-18T09:31:55.878" v="102" actId="478"/>
          <ac:picMkLst>
            <pc:docMk/>
            <pc:sldMk cId="1996427620" sldId="634"/>
            <ac:picMk id="6" creationId="{F5426EA6-51BD-438D-95CA-7AD4A241AE81}"/>
          </ac:picMkLst>
        </pc:picChg>
      </pc:sldChg>
      <pc:sldChg chg="delSp">
        <pc:chgData name="Thotakura, Ashok" userId="8def16fa-05a4-42f6-9097-35114c55c601" providerId="ADAL" clId="{85753C2B-84F5-4363-8313-EB23A698D512}" dt="2021-01-12T07:02:59.370" v="94" actId="478"/>
        <pc:sldMkLst>
          <pc:docMk/>
          <pc:sldMk cId="1231956484" sldId="639"/>
        </pc:sldMkLst>
        <pc:inkChg chg="del">
          <ac:chgData name="Thotakura, Ashok" userId="8def16fa-05a4-42f6-9097-35114c55c601" providerId="ADAL" clId="{85753C2B-84F5-4363-8313-EB23A698D512}" dt="2021-01-12T07:02:59.370" v="94" actId="478"/>
          <ac:inkMkLst>
            <pc:docMk/>
            <pc:sldMk cId="1231956484" sldId="639"/>
            <ac:inkMk id="12" creationId="{20DB8C56-AEF7-4429-B49E-8EAF83BFA16A}"/>
          </ac:inkMkLst>
        </pc:inkChg>
      </pc:sldChg>
      <pc:sldChg chg="modSp">
        <pc:chgData name="Thotakura, Ashok" userId="8def16fa-05a4-42f6-9097-35114c55c601" providerId="ADAL" clId="{85753C2B-84F5-4363-8313-EB23A698D512}" dt="2021-01-12T07:04:15.757" v="101"/>
        <pc:sldMkLst>
          <pc:docMk/>
          <pc:sldMk cId="311541567" sldId="640"/>
        </pc:sldMkLst>
        <pc:graphicFrameChg chg="mod">
          <ac:chgData name="Thotakura, Ashok" userId="8def16fa-05a4-42f6-9097-35114c55c601" providerId="ADAL" clId="{85753C2B-84F5-4363-8313-EB23A698D512}" dt="2021-01-12T07:04:15.757" v="101"/>
          <ac:graphicFrameMkLst>
            <pc:docMk/>
            <pc:sldMk cId="311541567" sldId="640"/>
            <ac:graphicFrameMk id="7" creationId="{6052BDAF-1585-4879-97B6-A2625EBC77BC}"/>
          </ac:graphicFrameMkLst>
        </pc:graphicFrameChg>
      </pc:sldChg>
      <pc:sldChg chg="modSp">
        <pc:chgData name="Thotakura, Ashok" userId="8def16fa-05a4-42f6-9097-35114c55c601" providerId="ADAL" clId="{85753C2B-84F5-4363-8313-EB23A698D512}" dt="2021-01-12T06:57:29.140" v="29" actId="20577"/>
        <pc:sldMkLst>
          <pc:docMk/>
          <pc:sldMk cId="1207151774" sldId="641"/>
        </pc:sldMkLst>
        <pc:graphicFrameChg chg="modGraphic">
          <ac:chgData name="Thotakura, Ashok" userId="8def16fa-05a4-42f6-9097-35114c55c601" providerId="ADAL" clId="{85753C2B-84F5-4363-8313-EB23A698D512}" dt="2021-01-12T06:57:29.140" v="29" actId="20577"/>
          <ac:graphicFrameMkLst>
            <pc:docMk/>
            <pc:sldMk cId="1207151774" sldId="641"/>
            <ac:graphicFrameMk id="2" creationId="{EFE52470-BA62-49BF-A431-55C6BEED9B88}"/>
          </ac:graphicFrameMkLst>
        </pc:graphicFrameChg>
        <pc:graphicFrameChg chg="modGraphic">
          <ac:chgData name="Thotakura, Ashok" userId="8def16fa-05a4-42f6-9097-35114c55c601" providerId="ADAL" clId="{85753C2B-84F5-4363-8313-EB23A698D512}" dt="2021-01-12T06:57:22.360" v="23" actId="20577"/>
          <ac:graphicFrameMkLst>
            <pc:docMk/>
            <pc:sldMk cId="1207151774" sldId="641"/>
            <ac:graphicFrameMk id="8" creationId="{00000000-0000-0000-0000-000000000000}"/>
          </ac:graphicFrameMkLst>
        </pc:graphicFrameChg>
      </pc:sldChg>
      <pc:sldChg chg="delSp">
        <pc:chgData name="Thotakura, Ashok" userId="8def16fa-05a4-42f6-9097-35114c55c601" providerId="ADAL" clId="{85753C2B-84F5-4363-8313-EB23A698D512}" dt="2021-01-12T07:03:55.251" v="100" actId="478"/>
        <pc:sldMkLst>
          <pc:docMk/>
          <pc:sldMk cId="4286428914" sldId="643"/>
        </pc:sldMkLst>
        <pc:inkChg chg="del">
          <ac:chgData name="Thotakura, Ashok" userId="8def16fa-05a4-42f6-9097-35114c55c601" providerId="ADAL" clId="{85753C2B-84F5-4363-8313-EB23A698D512}" dt="2021-01-12T07:03:55.251" v="100" actId="478"/>
          <ac:inkMkLst>
            <pc:docMk/>
            <pc:sldMk cId="4286428914" sldId="643"/>
            <ac:inkMk id="4" creationId="{C3777A2A-B83C-419A-8728-66B511F1DA97}"/>
          </ac:inkMkLst>
        </pc:inkChg>
        <pc:inkChg chg="del">
          <ac:chgData name="Thotakura, Ashok" userId="8def16fa-05a4-42f6-9097-35114c55c601" providerId="ADAL" clId="{85753C2B-84F5-4363-8313-EB23A698D512}" dt="2021-01-12T07:03:52.473" v="99" actId="478"/>
          <ac:inkMkLst>
            <pc:docMk/>
            <pc:sldMk cId="4286428914" sldId="643"/>
            <ac:inkMk id="5" creationId="{79AF70BB-7E5A-4A04-AE70-0934952CCD99}"/>
          </ac:inkMkLst>
        </pc:inkChg>
      </pc:sldChg>
    </pc:docChg>
  </pc:docChgLst>
  <pc:docChgLst>
    <pc:chgData name="Steele, Montgomery" userId="S::monsteele@deloitte.com::02bade61-d0d7-4378-809e-09851452d26f" providerId="AD" clId="Web-{51022157-3B79-4E75-9DE2-DCBE00D28D4F}"/>
    <pc:docChg chg="modSld">
      <pc:chgData name="Steele, Montgomery" userId="S::monsteele@deloitte.com::02bade61-d0d7-4378-809e-09851452d26f" providerId="AD" clId="Web-{51022157-3B79-4E75-9DE2-DCBE00D28D4F}" dt="2021-06-04T15:35:50.004" v="0"/>
      <pc:docMkLst>
        <pc:docMk/>
      </pc:docMkLst>
      <pc:sldChg chg="addSp">
        <pc:chgData name="Steele, Montgomery" userId="S::monsteele@deloitte.com::02bade61-d0d7-4378-809e-09851452d26f" providerId="AD" clId="Web-{51022157-3B79-4E75-9DE2-DCBE00D28D4F}" dt="2021-06-04T15:35:50.004" v="0"/>
        <pc:sldMkLst>
          <pc:docMk/>
          <pc:sldMk cId="653286514" sldId="517"/>
        </pc:sldMkLst>
        <pc:spChg chg="add">
          <ac:chgData name="Steele, Montgomery" userId="S::monsteele@deloitte.com::02bade61-d0d7-4378-809e-09851452d26f" providerId="AD" clId="Web-{51022157-3B79-4E75-9DE2-DCBE00D28D4F}" dt="2021-06-04T15:35:50.004" v="0"/>
          <ac:spMkLst>
            <pc:docMk/>
            <pc:sldMk cId="653286514" sldId="517"/>
            <ac:spMk id="2" creationId="{54374DFB-0CD9-4794-BE2D-AAB63DFE204F}"/>
          </ac:spMkLst>
        </pc:spChg>
      </pc:sldChg>
    </pc:docChg>
  </pc:docChgLst>
  <pc:docChgLst>
    <pc:chgData name="Pasupuleti, Surya Praveen" userId="320b9cd1-0fe1-45ba-8d96-c1c06ae8d1ec" providerId="ADAL" clId="{0CFC78D9-9130-4E03-93D1-11CCF7A9918B}"/>
    <pc:docChg chg="modSld sldOrd">
      <pc:chgData name="Pasupuleti, Surya Praveen" userId="320b9cd1-0fe1-45ba-8d96-c1c06ae8d1ec" providerId="ADAL" clId="{0CFC78D9-9130-4E03-93D1-11CCF7A9918B}" dt="2021-10-06T03:47:23.484" v="1"/>
      <pc:docMkLst>
        <pc:docMk/>
      </pc:docMkLst>
      <pc:sldChg chg="ord">
        <pc:chgData name="Pasupuleti, Surya Praveen" userId="320b9cd1-0fe1-45ba-8d96-c1c06ae8d1ec" providerId="ADAL" clId="{0CFC78D9-9130-4E03-93D1-11CCF7A9918B}" dt="2021-10-06T03:47:23.484" v="1"/>
        <pc:sldMkLst>
          <pc:docMk/>
          <pc:sldMk cId="1009707844" sldId="802"/>
        </pc:sldMkLst>
      </pc:sldChg>
    </pc:docChg>
  </pc:docChgLst>
  <pc:docChgLst>
    <pc:chgData name="Ashok" userId="8def16fa-05a4-42f6-9097-35114c55c601" providerId="ADAL" clId="{A31C1501-9031-4446-AA58-80822123E173}"/>
    <pc:docChg chg="custSel modSld sldOrd">
      <pc:chgData name="Ashok" userId="8def16fa-05a4-42f6-9097-35114c55c601" providerId="ADAL" clId="{A31C1501-9031-4446-AA58-80822123E173}" dt="2021-02-17T15:09:45.905" v="462" actId="14100"/>
      <pc:docMkLst>
        <pc:docMk/>
      </pc:docMkLst>
      <pc:sldChg chg="addSp delSp modSp">
        <pc:chgData name="Ashok" userId="8def16fa-05a4-42f6-9097-35114c55c601" providerId="ADAL" clId="{A31C1501-9031-4446-AA58-80822123E173}" dt="2021-02-17T14:48:31.311" v="446"/>
        <pc:sldMkLst>
          <pc:docMk/>
          <pc:sldMk cId="1764304501" sldId="473"/>
        </pc:sldMkLst>
        <pc:picChg chg="del">
          <ac:chgData name="Ashok" userId="8def16fa-05a4-42f6-9097-35114c55c601" providerId="ADAL" clId="{A31C1501-9031-4446-AA58-80822123E173}" dt="2021-02-17T14:42:38.040" v="434" actId="478"/>
          <ac:picMkLst>
            <pc:docMk/>
            <pc:sldMk cId="1764304501" sldId="473"/>
            <ac:picMk id="8" creationId="{DF757A7C-A4F6-4A95-BE59-98EDE9080E35}"/>
          </ac:picMkLst>
        </pc:picChg>
        <pc:picChg chg="add mod">
          <ac:chgData name="Ashok" userId="8def16fa-05a4-42f6-9097-35114c55c601" providerId="ADAL" clId="{A31C1501-9031-4446-AA58-80822123E173}" dt="2021-02-17T14:43:11.392" v="439" actId="1076"/>
          <ac:picMkLst>
            <pc:docMk/>
            <pc:sldMk cId="1764304501" sldId="473"/>
            <ac:picMk id="10" creationId="{A4101088-4B3D-4F80-81BF-E131441DFBF8}"/>
          </ac:picMkLst>
        </pc:picChg>
        <pc:inkChg chg="del">
          <ac:chgData name="Ashok" userId="8def16fa-05a4-42f6-9097-35114c55c601" providerId="ADAL" clId="{A31C1501-9031-4446-AA58-80822123E173}" dt="2021-02-17T14:42:40.593" v="435" actId="478"/>
          <ac:inkMkLst>
            <pc:docMk/>
            <pc:sldMk cId="1764304501" sldId="473"/>
            <ac:inkMk id="3" creationId="{F24DF32B-D499-4CA1-9E93-63B410CB29FF}"/>
          </ac:inkMkLst>
        </pc:inkChg>
        <pc:inkChg chg="add del">
          <ac:chgData name="Ashok" userId="8def16fa-05a4-42f6-9097-35114c55c601" providerId="ADAL" clId="{A31C1501-9031-4446-AA58-80822123E173}" dt="2021-02-17T14:42:40.593" v="435" actId="478"/>
          <ac:inkMkLst>
            <pc:docMk/>
            <pc:sldMk cId="1764304501" sldId="473"/>
            <ac:inkMk id="4" creationId="{CFD39D07-0BD6-476F-9EE7-ABED24856436}"/>
          </ac:inkMkLst>
        </pc:inkChg>
        <pc:inkChg chg="add del">
          <ac:chgData name="Ashok" userId="8def16fa-05a4-42f6-9097-35114c55c601" providerId="ADAL" clId="{A31C1501-9031-4446-AA58-80822123E173}" dt="2021-02-17T14:42:40.593" v="435" actId="478"/>
          <ac:inkMkLst>
            <pc:docMk/>
            <pc:sldMk cId="1764304501" sldId="473"/>
            <ac:inkMk id="5" creationId="{8BD1A27C-98DD-4794-924E-EEA3A6ACE0F9}"/>
          </ac:inkMkLst>
        </pc:inkChg>
        <pc:inkChg chg="add del">
          <ac:chgData name="Ashok" userId="8def16fa-05a4-42f6-9097-35114c55c601" providerId="ADAL" clId="{A31C1501-9031-4446-AA58-80822123E173}" dt="2021-02-17T14:42:40.593" v="435" actId="478"/>
          <ac:inkMkLst>
            <pc:docMk/>
            <pc:sldMk cId="1764304501" sldId="473"/>
            <ac:inkMk id="6" creationId="{2002E551-7DCA-4AF7-B865-3A0161BB40C2}"/>
          </ac:inkMkLst>
        </pc:inkChg>
        <pc:inkChg chg="add del">
          <ac:chgData name="Ashok" userId="8def16fa-05a4-42f6-9097-35114c55c601" providerId="ADAL" clId="{A31C1501-9031-4446-AA58-80822123E173}" dt="2021-02-17T14:42:40.593" v="435" actId="478"/>
          <ac:inkMkLst>
            <pc:docMk/>
            <pc:sldMk cId="1764304501" sldId="473"/>
            <ac:inkMk id="7" creationId="{81FF4572-85D0-4F7D-884A-031DF4C9ED24}"/>
          </ac:inkMkLst>
        </pc:inkChg>
        <pc:inkChg chg="add del">
          <ac:chgData name="Ashok" userId="8def16fa-05a4-42f6-9097-35114c55c601" providerId="ADAL" clId="{A31C1501-9031-4446-AA58-80822123E173}" dt="2021-02-17T14:42:40.593" v="435" actId="478"/>
          <ac:inkMkLst>
            <pc:docMk/>
            <pc:sldMk cId="1764304501" sldId="473"/>
            <ac:inkMk id="9" creationId="{2572A71F-1B33-4F4C-9ECE-27FB7F2DB00D}"/>
          </ac:inkMkLst>
        </pc:inkChg>
        <pc:inkChg chg="add">
          <ac:chgData name="Ashok" userId="8def16fa-05a4-42f6-9097-35114c55c601" providerId="ADAL" clId="{A31C1501-9031-4446-AA58-80822123E173}" dt="2021-02-17T14:47:09.265" v="440" actId="9405"/>
          <ac:inkMkLst>
            <pc:docMk/>
            <pc:sldMk cId="1764304501" sldId="473"/>
            <ac:inkMk id="11" creationId="{EABE6398-1FFA-4DC0-99FA-7C986CB88C1F}"/>
          </ac:inkMkLst>
        </pc:inkChg>
        <pc:inkChg chg="add">
          <ac:chgData name="Ashok" userId="8def16fa-05a4-42f6-9097-35114c55c601" providerId="ADAL" clId="{A31C1501-9031-4446-AA58-80822123E173}" dt="2021-02-17T14:47:14.695" v="441" actId="9405"/>
          <ac:inkMkLst>
            <pc:docMk/>
            <pc:sldMk cId="1764304501" sldId="473"/>
            <ac:inkMk id="12" creationId="{8CF29268-9986-4182-882A-466AC5581665}"/>
          </ac:inkMkLst>
        </pc:inkChg>
        <pc:inkChg chg="add">
          <ac:chgData name="Ashok" userId="8def16fa-05a4-42f6-9097-35114c55c601" providerId="ADAL" clId="{A31C1501-9031-4446-AA58-80822123E173}" dt="2021-02-17T14:47:20.682" v="442" actId="9405"/>
          <ac:inkMkLst>
            <pc:docMk/>
            <pc:sldMk cId="1764304501" sldId="473"/>
            <ac:inkMk id="13" creationId="{F531C4D5-98FA-4C1D-89E2-FA6F0805FBD4}"/>
          </ac:inkMkLst>
        </pc:inkChg>
        <pc:inkChg chg="add del">
          <ac:chgData name="Ashok" userId="8def16fa-05a4-42f6-9097-35114c55c601" providerId="ADAL" clId="{A31C1501-9031-4446-AA58-80822123E173}" dt="2021-02-17T14:48:10.031" v="444"/>
          <ac:inkMkLst>
            <pc:docMk/>
            <pc:sldMk cId="1764304501" sldId="473"/>
            <ac:inkMk id="14" creationId="{2C307367-9F56-4F20-8725-D54861B82AB6}"/>
          </ac:inkMkLst>
        </pc:inkChg>
        <pc:inkChg chg="add del">
          <ac:chgData name="Ashok" userId="8def16fa-05a4-42f6-9097-35114c55c601" providerId="ADAL" clId="{A31C1501-9031-4446-AA58-80822123E173}" dt="2021-02-17T14:48:31.311" v="446"/>
          <ac:inkMkLst>
            <pc:docMk/>
            <pc:sldMk cId="1764304501" sldId="473"/>
            <ac:inkMk id="15" creationId="{6A4706C9-EF18-44E4-8AA3-271CD7AF78C5}"/>
          </ac:inkMkLst>
        </pc:inkChg>
      </pc:sldChg>
      <pc:sldChg chg="modSp">
        <pc:chgData name="Ashok" userId="8def16fa-05a4-42f6-9097-35114c55c601" providerId="ADAL" clId="{A31C1501-9031-4446-AA58-80822123E173}" dt="2021-02-17T10:17:27.208" v="338" actId="20577"/>
        <pc:sldMkLst>
          <pc:docMk/>
          <pc:sldMk cId="3783079273" sldId="650"/>
        </pc:sldMkLst>
        <pc:spChg chg="mod">
          <ac:chgData name="Ashok" userId="8def16fa-05a4-42f6-9097-35114c55c601" providerId="ADAL" clId="{A31C1501-9031-4446-AA58-80822123E173}" dt="2021-02-17T09:45:25.563" v="2" actId="20577"/>
          <ac:spMkLst>
            <pc:docMk/>
            <pc:sldMk cId="3783079273" sldId="650"/>
            <ac:spMk id="2" creationId="{00000000-0000-0000-0000-000000000000}"/>
          </ac:spMkLst>
        </pc:spChg>
        <pc:graphicFrameChg chg="mod modGraphic">
          <ac:chgData name="Ashok" userId="8def16fa-05a4-42f6-9097-35114c55c601" providerId="ADAL" clId="{A31C1501-9031-4446-AA58-80822123E173}" dt="2021-02-17T10:17:27.208" v="338" actId="20577"/>
          <ac:graphicFrameMkLst>
            <pc:docMk/>
            <pc:sldMk cId="3783079273" sldId="650"/>
            <ac:graphicFrameMk id="5" creationId="{90CCA062-A7F0-4C93-A28E-71B91C36E2E6}"/>
          </ac:graphicFrameMkLst>
        </pc:graphicFrameChg>
      </pc:sldChg>
      <pc:sldChg chg="modSp">
        <pc:chgData name="Ashok" userId="8def16fa-05a4-42f6-9097-35114c55c601" providerId="ADAL" clId="{A31C1501-9031-4446-AA58-80822123E173}" dt="2021-02-17T12:30:11.407" v="414" actId="20577"/>
        <pc:sldMkLst>
          <pc:docMk/>
          <pc:sldMk cId="2710755517" sldId="652"/>
        </pc:sldMkLst>
        <pc:spChg chg="mod">
          <ac:chgData name="Ashok" userId="8def16fa-05a4-42f6-9097-35114c55c601" providerId="ADAL" clId="{A31C1501-9031-4446-AA58-80822123E173}" dt="2021-02-17T12:29:37.545" v="407" actId="6549"/>
          <ac:spMkLst>
            <pc:docMk/>
            <pc:sldMk cId="2710755517" sldId="652"/>
            <ac:spMk id="15" creationId="{074C2DA8-19CE-D045-9434-5C5AB311BB25}"/>
          </ac:spMkLst>
        </pc:spChg>
        <pc:spChg chg="mod">
          <ac:chgData name="Ashok" userId="8def16fa-05a4-42f6-9097-35114c55c601" providerId="ADAL" clId="{A31C1501-9031-4446-AA58-80822123E173}" dt="2021-02-17T12:30:11.407" v="414" actId="20577"/>
          <ac:spMkLst>
            <pc:docMk/>
            <pc:sldMk cId="2710755517" sldId="652"/>
            <ac:spMk id="16" creationId="{36A79F1E-03AC-B642-8C06-6A7AF071D418}"/>
          </ac:spMkLst>
        </pc:spChg>
      </pc:sldChg>
      <pc:sldChg chg="addSp delSp modSp">
        <pc:chgData name="Ashok" userId="8def16fa-05a4-42f6-9097-35114c55c601" providerId="ADAL" clId="{A31C1501-9031-4446-AA58-80822123E173}" dt="2021-02-17T14:40:07.942" v="428" actId="9405"/>
        <pc:sldMkLst>
          <pc:docMk/>
          <pc:sldMk cId="1369925577" sldId="654"/>
        </pc:sldMkLst>
        <pc:picChg chg="del">
          <ac:chgData name="Ashok" userId="8def16fa-05a4-42f6-9097-35114c55c601" providerId="ADAL" clId="{A31C1501-9031-4446-AA58-80822123E173}" dt="2021-02-17T14:32:22.125" v="415" actId="478"/>
          <ac:picMkLst>
            <pc:docMk/>
            <pc:sldMk cId="1369925577" sldId="654"/>
            <ac:picMk id="3" creationId="{774CCE6B-9817-4740-A5D4-3B3362DCC798}"/>
          </ac:picMkLst>
        </pc:picChg>
        <pc:picChg chg="add del mod">
          <ac:chgData name="Ashok" userId="8def16fa-05a4-42f6-9097-35114c55c601" providerId="ADAL" clId="{A31C1501-9031-4446-AA58-80822123E173}" dt="2021-02-17T14:34:35.275" v="421" actId="478"/>
          <ac:picMkLst>
            <pc:docMk/>
            <pc:sldMk cId="1369925577" sldId="654"/>
            <ac:picMk id="4" creationId="{9BF5AE73-8FD7-4815-994E-4E5AB271BB76}"/>
          </ac:picMkLst>
        </pc:picChg>
        <pc:picChg chg="add mod">
          <ac:chgData name="Ashok" userId="8def16fa-05a4-42f6-9097-35114c55c601" providerId="ADAL" clId="{A31C1501-9031-4446-AA58-80822123E173}" dt="2021-02-17T14:34:52.775" v="425" actId="1076"/>
          <ac:picMkLst>
            <pc:docMk/>
            <pc:sldMk cId="1369925577" sldId="654"/>
            <ac:picMk id="5" creationId="{36467CC0-8BA3-4106-9CF5-18DD73120655}"/>
          </ac:picMkLst>
        </pc:picChg>
        <pc:inkChg chg="add">
          <ac:chgData name="Ashok" userId="8def16fa-05a4-42f6-9097-35114c55c601" providerId="ADAL" clId="{A31C1501-9031-4446-AA58-80822123E173}" dt="2021-02-17T14:40:07.942" v="428" actId="9405"/>
          <ac:inkMkLst>
            <pc:docMk/>
            <pc:sldMk cId="1369925577" sldId="654"/>
            <ac:inkMk id="6" creationId="{47784B47-2923-4F43-8457-C19E75264085}"/>
          </ac:inkMkLst>
        </pc:inkChg>
      </pc:sldChg>
      <pc:sldChg chg="addSp delSp modSp">
        <pc:chgData name="Ashok" userId="8def16fa-05a4-42f6-9097-35114c55c601" providerId="ADAL" clId="{A31C1501-9031-4446-AA58-80822123E173}" dt="2021-02-17T15:09:28.570" v="458" actId="1076"/>
        <pc:sldMkLst>
          <pc:docMk/>
          <pc:sldMk cId="3542795391" sldId="657"/>
        </pc:sldMkLst>
        <pc:picChg chg="del">
          <ac:chgData name="Ashok" userId="8def16fa-05a4-42f6-9097-35114c55c601" providerId="ADAL" clId="{A31C1501-9031-4446-AA58-80822123E173}" dt="2021-02-17T15:09:18.032" v="453" actId="478"/>
          <ac:picMkLst>
            <pc:docMk/>
            <pc:sldMk cId="3542795391" sldId="657"/>
            <ac:picMk id="3" creationId="{5BF05FA0-1744-4B54-B759-D842B9063F21}"/>
          </ac:picMkLst>
        </pc:picChg>
        <pc:picChg chg="add mod">
          <ac:chgData name="Ashok" userId="8def16fa-05a4-42f6-9097-35114c55c601" providerId="ADAL" clId="{A31C1501-9031-4446-AA58-80822123E173}" dt="2021-02-17T15:09:28.570" v="458" actId="1076"/>
          <ac:picMkLst>
            <pc:docMk/>
            <pc:sldMk cId="3542795391" sldId="657"/>
            <ac:picMk id="4" creationId="{71848A05-EA39-41AF-9005-F811AB81D0FF}"/>
          </ac:picMkLst>
        </pc:picChg>
      </pc:sldChg>
      <pc:sldChg chg="ord">
        <pc:chgData name="Ashok" userId="8def16fa-05a4-42f6-9097-35114c55c601" providerId="ADAL" clId="{A31C1501-9031-4446-AA58-80822123E173}" dt="2021-02-17T15:06:26.501" v="447"/>
        <pc:sldMkLst>
          <pc:docMk/>
          <pc:sldMk cId="2776706470" sldId="658"/>
        </pc:sldMkLst>
      </pc:sldChg>
      <pc:sldChg chg="addSp delSp modSp">
        <pc:chgData name="Ashok" userId="8def16fa-05a4-42f6-9097-35114c55c601" providerId="ADAL" clId="{A31C1501-9031-4446-AA58-80822123E173}" dt="2021-02-17T15:09:45.905" v="462" actId="14100"/>
        <pc:sldMkLst>
          <pc:docMk/>
          <pc:sldMk cId="2842050329" sldId="662"/>
        </pc:sldMkLst>
        <pc:picChg chg="add del mod">
          <ac:chgData name="Ashok" userId="8def16fa-05a4-42f6-9097-35114c55c601" providerId="ADAL" clId="{A31C1501-9031-4446-AA58-80822123E173}" dt="2021-02-17T15:09:40.053" v="459" actId="478"/>
          <ac:picMkLst>
            <pc:docMk/>
            <pc:sldMk cId="2842050329" sldId="662"/>
            <ac:picMk id="3" creationId="{ADBFE958-2A72-4C8F-BD07-7EF8E64F2CAD}"/>
          </ac:picMkLst>
        </pc:picChg>
        <pc:picChg chg="del">
          <ac:chgData name="Ashok" userId="8def16fa-05a4-42f6-9097-35114c55c601" providerId="ADAL" clId="{A31C1501-9031-4446-AA58-80822123E173}" dt="2021-02-17T15:08:37.012" v="448" actId="478"/>
          <ac:picMkLst>
            <pc:docMk/>
            <pc:sldMk cId="2842050329" sldId="662"/>
            <ac:picMk id="4" creationId="{5D16B786-76BA-4DCE-95D7-B937BCE18FBD}"/>
          </ac:picMkLst>
        </pc:picChg>
        <pc:picChg chg="add mod">
          <ac:chgData name="Ashok" userId="8def16fa-05a4-42f6-9097-35114c55c601" providerId="ADAL" clId="{A31C1501-9031-4446-AA58-80822123E173}" dt="2021-02-17T15:09:45.905" v="462" actId="14100"/>
          <ac:picMkLst>
            <pc:docMk/>
            <pc:sldMk cId="2842050329" sldId="662"/>
            <ac:picMk id="5" creationId="{E6B0DC89-DB6C-441A-8283-F1506A7F2B5F}"/>
          </ac:picMkLst>
        </pc:picChg>
      </pc:sldChg>
      <pc:sldChg chg="addSp">
        <pc:chgData name="Ashok" userId="8def16fa-05a4-42f6-9097-35114c55c601" providerId="ADAL" clId="{A31C1501-9031-4446-AA58-80822123E173}" dt="2021-02-17T14:35:21.541" v="427" actId="9405"/>
        <pc:sldMkLst>
          <pc:docMk/>
          <pc:sldMk cId="2729071175" sldId="663"/>
        </pc:sldMkLst>
        <pc:inkChg chg="add">
          <ac:chgData name="Ashok" userId="8def16fa-05a4-42f6-9097-35114c55c601" providerId="ADAL" clId="{A31C1501-9031-4446-AA58-80822123E173}" dt="2021-02-17T14:35:17.926" v="426" actId="9405"/>
          <ac:inkMkLst>
            <pc:docMk/>
            <pc:sldMk cId="2729071175" sldId="663"/>
            <ac:inkMk id="3" creationId="{C714AEE7-D708-4E3D-89CA-DD3E12C2765A}"/>
          </ac:inkMkLst>
        </pc:inkChg>
        <pc:inkChg chg="add">
          <ac:chgData name="Ashok" userId="8def16fa-05a4-42f6-9097-35114c55c601" providerId="ADAL" clId="{A31C1501-9031-4446-AA58-80822123E173}" dt="2021-02-17T14:35:21.541" v="427" actId="9405"/>
          <ac:inkMkLst>
            <pc:docMk/>
            <pc:sldMk cId="2729071175" sldId="663"/>
            <ac:inkMk id="7" creationId="{41F48FC7-48C5-4FF2-89BF-61CF9CFF4795}"/>
          </ac:inkMkLst>
        </pc:inkChg>
      </pc:sldChg>
    </pc:docChg>
  </pc:docChgLst>
  <pc:docChgLst>
    <pc:chgData name="Ortiz, Anamaria" userId="bd6a94b2-6960-45b4-9d6a-be6edf30f3c6" providerId="ADAL" clId="{E14B6CF7-66EB-4688-8A1B-01800DF82A8A}"/>
    <pc:docChg chg="undo custSel modSld">
      <pc:chgData name="Ortiz, Anamaria" userId="bd6a94b2-6960-45b4-9d6a-be6edf30f3c6" providerId="ADAL" clId="{E14B6CF7-66EB-4688-8A1B-01800DF82A8A}" dt="2021-10-08T20:32:20.987" v="79" actId="20577"/>
      <pc:docMkLst>
        <pc:docMk/>
      </pc:docMkLst>
      <pc:sldChg chg="modSp mod">
        <pc:chgData name="Ortiz, Anamaria" userId="bd6a94b2-6960-45b4-9d6a-be6edf30f3c6" providerId="ADAL" clId="{E14B6CF7-66EB-4688-8A1B-01800DF82A8A}" dt="2021-10-08T20:32:07.425" v="75" actId="20577"/>
        <pc:sldMkLst>
          <pc:docMk/>
          <pc:sldMk cId="3783079273" sldId="650"/>
        </pc:sldMkLst>
        <pc:graphicFrameChg chg="mod modGraphic">
          <ac:chgData name="Ortiz, Anamaria" userId="bd6a94b2-6960-45b4-9d6a-be6edf30f3c6" providerId="ADAL" clId="{E14B6CF7-66EB-4688-8A1B-01800DF82A8A}" dt="2021-10-08T20:32:07.425" v="75" actId="20577"/>
          <ac:graphicFrameMkLst>
            <pc:docMk/>
            <pc:sldMk cId="3783079273" sldId="650"/>
            <ac:graphicFrameMk id="5" creationId="{90CCA062-A7F0-4C93-A28E-71B91C36E2E6}"/>
          </ac:graphicFrameMkLst>
        </pc:graphicFrameChg>
      </pc:sldChg>
      <pc:sldChg chg="modSp mod">
        <pc:chgData name="Ortiz, Anamaria" userId="bd6a94b2-6960-45b4-9d6a-be6edf30f3c6" providerId="ADAL" clId="{E14B6CF7-66EB-4688-8A1B-01800DF82A8A}" dt="2021-10-08T20:32:12.460" v="76" actId="20577"/>
        <pc:sldMkLst>
          <pc:docMk/>
          <pc:sldMk cId="2651572934" sldId="817"/>
        </pc:sldMkLst>
        <pc:graphicFrameChg chg="mod modGraphic">
          <ac:chgData name="Ortiz, Anamaria" userId="bd6a94b2-6960-45b4-9d6a-be6edf30f3c6" providerId="ADAL" clId="{E14B6CF7-66EB-4688-8A1B-01800DF82A8A}" dt="2021-10-08T20:32:12.460" v="76" actId="20577"/>
          <ac:graphicFrameMkLst>
            <pc:docMk/>
            <pc:sldMk cId="2651572934" sldId="817"/>
            <ac:graphicFrameMk id="5" creationId="{90CCA062-A7F0-4C93-A28E-71B91C36E2E6}"/>
          </ac:graphicFrameMkLst>
        </pc:graphicFrameChg>
      </pc:sldChg>
      <pc:sldChg chg="modSp mod">
        <pc:chgData name="Ortiz, Anamaria" userId="bd6a94b2-6960-45b4-9d6a-be6edf30f3c6" providerId="ADAL" clId="{E14B6CF7-66EB-4688-8A1B-01800DF82A8A}" dt="2021-10-08T20:32:20.987" v="79" actId="20577"/>
        <pc:sldMkLst>
          <pc:docMk/>
          <pc:sldMk cId="4197785199" sldId="818"/>
        </pc:sldMkLst>
        <pc:graphicFrameChg chg="mod modGraphic">
          <ac:chgData name="Ortiz, Anamaria" userId="bd6a94b2-6960-45b4-9d6a-be6edf30f3c6" providerId="ADAL" clId="{E14B6CF7-66EB-4688-8A1B-01800DF82A8A}" dt="2021-10-08T20:32:20.987" v="79" actId="20577"/>
          <ac:graphicFrameMkLst>
            <pc:docMk/>
            <pc:sldMk cId="4197785199" sldId="818"/>
            <ac:graphicFrameMk id="5" creationId="{90CCA062-A7F0-4C93-A28E-71B91C36E2E6}"/>
          </ac:graphicFrameMkLst>
        </pc:graphicFrameChg>
      </pc:sldChg>
    </pc:docChg>
  </pc:docChgLst>
  <pc:docChgLst>
    <pc:chgData name="Thotakura, Ashok" userId="8def16fa-05a4-42f6-9097-35114c55c601" providerId="ADAL" clId="{5DAF6767-078C-412C-B8CD-C827F0029FF4}"/>
    <pc:docChg chg="custSel addSld modSld">
      <pc:chgData name="Thotakura, Ashok" userId="8def16fa-05a4-42f6-9097-35114c55c601" providerId="ADAL" clId="{5DAF6767-078C-412C-B8CD-C827F0029FF4}" dt="2020-08-27T10:44:39.672" v="264" actId="113"/>
      <pc:docMkLst>
        <pc:docMk/>
      </pc:docMkLst>
      <pc:sldChg chg="modSp mod">
        <pc:chgData name="Thotakura, Ashok" userId="8def16fa-05a4-42f6-9097-35114c55c601" providerId="ADAL" clId="{5DAF6767-078C-412C-B8CD-C827F0029FF4}" dt="2020-08-27T10:28:40.290" v="196" actId="20577"/>
        <pc:sldMkLst>
          <pc:docMk/>
          <pc:sldMk cId="2018669121" sldId="457"/>
        </pc:sldMkLst>
        <pc:spChg chg="mod">
          <ac:chgData name="Thotakura, Ashok" userId="8def16fa-05a4-42f6-9097-35114c55c601" providerId="ADAL" clId="{5DAF6767-078C-412C-B8CD-C827F0029FF4}" dt="2020-08-27T10:28:40.290" v="196" actId="20577"/>
          <ac:spMkLst>
            <pc:docMk/>
            <pc:sldMk cId="2018669121" sldId="457"/>
            <ac:spMk id="4" creationId="{00000000-0000-0000-0000-000000000000}"/>
          </ac:spMkLst>
        </pc:spChg>
      </pc:sldChg>
      <pc:sldChg chg="addSp delSp mod">
        <pc:chgData name="Thotakura, Ashok" userId="8def16fa-05a4-42f6-9097-35114c55c601" providerId="ADAL" clId="{5DAF6767-078C-412C-B8CD-C827F0029FF4}" dt="2020-08-27T10:12:44.981" v="123" actId="22"/>
        <pc:sldMkLst>
          <pc:docMk/>
          <pc:sldMk cId="1764304501" sldId="473"/>
        </pc:sldMkLst>
        <pc:picChg chg="add">
          <ac:chgData name="Thotakura, Ashok" userId="8def16fa-05a4-42f6-9097-35114c55c601" providerId="ADAL" clId="{5DAF6767-078C-412C-B8CD-C827F0029FF4}" dt="2020-08-27T10:12:44.981" v="123" actId="22"/>
          <ac:picMkLst>
            <pc:docMk/>
            <pc:sldMk cId="1764304501" sldId="473"/>
            <ac:picMk id="3" creationId="{269401AC-3294-46AC-ADAD-E0E59BF628CB}"/>
          </ac:picMkLst>
        </pc:picChg>
        <pc:picChg chg="del">
          <ac:chgData name="Thotakura, Ashok" userId="8def16fa-05a4-42f6-9097-35114c55c601" providerId="ADAL" clId="{5DAF6767-078C-412C-B8CD-C827F0029FF4}" dt="2020-08-27T10:12:44.687" v="122" actId="478"/>
          <ac:picMkLst>
            <pc:docMk/>
            <pc:sldMk cId="1764304501" sldId="473"/>
            <ac:picMk id="5" creationId="{189F97B1-42CC-4BC3-8E1A-5331D2E8EBEC}"/>
          </ac:picMkLst>
        </pc:picChg>
      </pc:sldChg>
      <pc:sldChg chg="modSp mod">
        <pc:chgData name="Thotakura, Ashok" userId="8def16fa-05a4-42f6-9097-35114c55c601" providerId="ADAL" clId="{5DAF6767-078C-412C-B8CD-C827F0029FF4}" dt="2020-08-27T10:16:17.545" v="143" actId="20577"/>
        <pc:sldMkLst>
          <pc:docMk/>
          <pc:sldMk cId="3772836641" sldId="474"/>
        </pc:sldMkLst>
        <pc:spChg chg="mod">
          <ac:chgData name="Thotakura, Ashok" userId="8def16fa-05a4-42f6-9097-35114c55c601" providerId="ADAL" clId="{5DAF6767-078C-412C-B8CD-C827F0029FF4}" dt="2020-08-27T10:16:17.545" v="143" actId="20577"/>
          <ac:spMkLst>
            <pc:docMk/>
            <pc:sldMk cId="3772836641" sldId="474"/>
            <ac:spMk id="2" creationId="{00000000-0000-0000-0000-000000000000}"/>
          </ac:spMkLst>
        </pc:spChg>
        <pc:picChg chg="mod">
          <ac:chgData name="Thotakura, Ashok" userId="8def16fa-05a4-42f6-9097-35114c55c601" providerId="ADAL" clId="{5DAF6767-078C-412C-B8CD-C827F0029FF4}" dt="2020-08-27T10:16:14.708" v="136" actId="14100"/>
          <ac:picMkLst>
            <pc:docMk/>
            <pc:sldMk cId="3772836641" sldId="474"/>
            <ac:picMk id="4" creationId="{1B5BE330-CA44-4F3B-9D8D-96C8F4898FD0}"/>
          </ac:picMkLst>
        </pc:picChg>
      </pc:sldChg>
      <pc:sldChg chg="modSp mod">
        <pc:chgData name="Thotakura, Ashok" userId="8def16fa-05a4-42f6-9097-35114c55c601" providerId="ADAL" clId="{5DAF6767-078C-412C-B8CD-C827F0029FF4}" dt="2020-08-27T10:11:01" v="120"/>
        <pc:sldMkLst>
          <pc:docMk/>
          <pc:sldMk cId="653286514" sldId="517"/>
        </pc:sldMkLst>
        <pc:graphicFrameChg chg="mod modGraphic">
          <ac:chgData name="Thotakura, Ashok" userId="8def16fa-05a4-42f6-9097-35114c55c601" providerId="ADAL" clId="{5DAF6767-078C-412C-B8CD-C827F0029FF4}" dt="2020-08-27T10:11:01" v="120"/>
          <ac:graphicFrameMkLst>
            <pc:docMk/>
            <pc:sldMk cId="653286514" sldId="517"/>
            <ac:graphicFrameMk id="3" creationId="{00000000-0000-0000-0000-000000000000}"/>
          </ac:graphicFrameMkLst>
        </pc:graphicFrameChg>
      </pc:sldChg>
      <pc:sldChg chg="modSp mod">
        <pc:chgData name="Thotakura, Ashok" userId="8def16fa-05a4-42f6-9097-35114c55c601" providerId="ADAL" clId="{5DAF6767-078C-412C-B8CD-C827F0029FF4}" dt="2020-08-27T10:02:39.150" v="4" actId="20577"/>
        <pc:sldMkLst>
          <pc:docMk/>
          <pc:sldMk cId="1564247609" sldId="521"/>
        </pc:sldMkLst>
        <pc:spChg chg="mod">
          <ac:chgData name="Thotakura, Ashok" userId="8def16fa-05a4-42f6-9097-35114c55c601" providerId="ADAL" clId="{5DAF6767-078C-412C-B8CD-C827F0029FF4}" dt="2020-08-27T10:02:39.150" v="4" actId="20577"/>
          <ac:spMkLst>
            <pc:docMk/>
            <pc:sldMk cId="1564247609" sldId="521"/>
            <ac:spMk id="5" creationId="{00000000-0000-0000-0000-000000000000}"/>
          </ac:spMkLst>
        </pc:spChg>
      </pc:sldChg>
      <pc:sldChg chg="modSp mod">
        <pc:chgData name="Thotakura, Ashok" userId="8def16fa-05a4-42f6-9097-35114c55c601" providerId="ADAL" clId="{5DAF6767-078C-412C-B8CD-C827F0029FF4}" dt="2020-08-27T10:18:01.087" v="155" actId="14100"/>
        <pc:sldMkLst>
          <pc:docMk/>
          <pc:sldMk cId="2601424541" sldId="624"/>
        </pc:sldMkLst>
        <pc:spChg chg="mod">
          <ac:chgData name="Thotakura, Ashok" userId="8def16fa-05a4-42f6-9097-35114c55c601" providerId="ADAL" clId="{5DAF6767-078C-412C-B8CD-C827F0029FF4}" dt="2020-08-27T10:18:01.087" v="155" actId="14100"/>
          <ac:spMkLst>
            <pc:docMk/>
            <pc:sldMk cId="2601424541" sldId="624"/>
            <ac:spMk id="34" creationId="{201E8C26-D831-0A41-8447-317475BB495E}"/>
          </ac:spMkLst>
        </pc:spChg>
        <pc:spChg chg="mod">
          <ac:chgData name="Thotakura, Ashok" userId="8def16fa-05a4-42f6-9097-35114c55c601" providerId="ADAL" clId="{5DAF6767-078C-412C-B8CD-C827F0029FF4}" dt="2020-08-27T10:17:56.122" v="154"/>
          <ac:spMkLst>
            <pc:docMk/>
            <pc:sldMk cId="2601424541" sldId="624"/>
            <ac:spMk id="36" creationId="{0F55090B-0AB5-0542-AFBB-6F6B631AA027}"/>
          </ac:spMkLst>
        </pc:spChg>
      </pc:sldChg>
      <pc:sldChg chg="modSp mod">
        <pc:chgData name="Thotakura, Ashok" userId="8def16fa-05a4-42f6-9097-35114c55c601" providerId="ADAL" clId="{5DAF6767-078C-412C-B8CD-C827F0029FF4}" dt="2020-08-27T10:24:18.578" v="191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5DAF6767-078C-412C-B8CD-C827F0029FF4}" dt="2020-08-27T10:24:18.578" v="191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modSp mod">
        <pc:chgData name="Thotakura, Ashok" userId="8def16fa-05a4-42f6-9097-35114c55c601" providerId="ADAL" clId="{5DAF6767-078C-412C-B8CD-C827F0029FF4}" dt="2020-08-27T10:14:46.826" v="134"/>
        <pc:sldMkLst>
          <pc:docMk/>
          <pc:sldMk cId="2307693630" sldId="630"/>
        </pc:sldMkLst>
        <pc:graphicFrameChg chg="mod modGraphic">
          <ac:chgData name="Thotakura, Ashok" userId="8def16fa-05a4-42f6-9097-35114c55c601" providerId="ADAL" clId="{5DAF6767-078C-412C-B8CD-C827F0029FF4}" dt="2020-08-27T10:14:46.826" v="134"/>
          <ac:graphicFrameMkLst>
            <pc:docMk/>
            <pc:sldMk cId="2307693630" sldId="630"/>
            <ac:graphicFrameMk id="3" creationId="{00000000-0000-0000-0000-000000000000}"/>
          </ac:graphicFrameMkLst>
        </pc:graphicFrameChg>
      </pc:sldChg>
      <pc:sldChg chg="delSp mod modNotesTx">
        <pc:chgData name="Thotakura, Ashok" userId="8def16fa-05a4-42f6-9097-35114c55c601" providerId="ADAL" clId="{5DAF6767-078C-412C-B8CD-C827F0029FF4}" dt="2020-08-27T10:44:39.672" v="264" actId="113"/>
        <pc:sldMkLst>
          <pc:docMk/>
          <pc:sldMk cId="1996427620" sldId="634"/>
        </pc:sldMkLst>
        <pc:inkChg chg="del">
          <ac:chgData name="Thotakura, Ashok" userId="8def16fa-05a4-42f6-9097-35114c55c601" providerId="ADAL" clId="{5DAF6767-078C-412C-B8CD-C827F0029FF4}" dt="2020-08-27T10:25:16.748" v="193" actId="478"/>
          <ac:inkMkLst>
            <pc:docMk/>
            <pc:sldMk cId="1996427620" sldId="634"/>
            <ac:inkMk id="6" creationId="{D8588192-6605-4E73-AF81-2FBA450B4A71}"/>
          </ac:inkMkLst>
        </pc:inkChg>
        <pc:inkChg chg="del">
          <ac:chgData name="Thotakura, Ashok" userId="8def16fa-05a4-42f6-9097-35114c55c601" providerId="ADAL" clId="{5DAF6767-078C-412C-B8CD-C827F0029FF4}" dt="2020-08-27T10:25:14.266" v="192" actId="478"/>
          <ac:inkMkLst>
            <pc:docMk/>
            <pc:sldMk cId="1996427620" sldId="634"/>
            <ac:inkMk id="7" creationId="{E2256369-55A8-48B8-A8C2-7F75518CFDF3}"/>
          </ac:inkMkLst>
        </pc:inkChg>
        <pc:inkChg chg="del">
          <ac:chgData name="Thotakura, Ashok" userId="8def16fa-05a4-42f6-9097-35114c55c601" providerId="ADAL" clId="{5DAF6767-078C-412C-B8CD-C827F0029FF4}" dt="2020-08-27T10:25:19.215" v="194" actId="478"/>
          <ac:inkMkLst>
            <pc:docMk/>
            <pc:sldMk cId="1996427620" sldId="634"/>
            <ac:inkMk id="8" creationId="{A979259E-FD5F-4902-9BA9-6E5A798FA3A3}"/>
          </ac:inkMkLst>
        </pc:inkChg>
      </pc:sldChg>
      <pc:sldChg chg="delSp mod">
        <pc:chgData name="Thotakura, Ashok" userId="8def16fa-05a4-42f6-9097-35114c55c601" providerId="ADAL" clId="{5DAF6767-078C-412C-B8CD-C827F0029FF4}" dt="2020-08-27T10:12:14.479" v="121" actId="478"/>
        <pc:sldMkLst>
          <pc:docMk/>
          <pc:sldMk cId="1231956484" sldId="639"/>
        </pc:sldMkLst>
        <pc:inkChg chg="del">
          <ac:chgData name="Thotakura, Ashok" userId="8def16fa-05a4-42f6-9097-35114c55c601" providerId="ADAL" clId="{5DAF6767-078C-412C-B8CD-C827F0029FF4}" dt="2020-08-27T10:12:14.479" v="121" actId="478"/>
          <ac:inkMkLst>
            <pc:docMk/>
            <pc:sldMk cId="1231956484" sldId="639"/>
            <ac:inkMk id="6" creationId="{06A05374-9A2C-44A9-9812-ADCB77AF72ED}"/>
          </ac:inkMkLst>
        </pc:inkChg>
      </pc:sldChg>
      <pc:sldChg chg="modSp add mod">
        <pc:chgData name="Thotakura, Ashok" userId="8def16fa-05a4-42f6-9097-35114c55c601" providerId="ADAL" clId="{5DAF6767-078C-412C-B8CD-C827F0029FF4}" dt="2020-08-27T10:06:16.328" v="66" actId="20577"/>
        <pc:sldMkLst>
          <pc:docMk/>
          <pc:sldMk cId="1207151774" sldId="641"/>
        </pc:sldMkLst>
        <pc:spChg chg="mod">
          <ac:chgData name="Thotakura, Ashok" userId="8def16fa-05a4-42f6-9097-35114c55c601" providerId="ADAL" clId="{5DAF6767-078C-412C-B8CD-C827F0029FF4}" dt="2020-08-27T10:02:44.218" v="8" actId="20577"/>
          <ac:spMkLst>
            <pc:docMk/>
            <pc:sldMk cId="1207151774" sldId="641"/>
            <ac:spMk id="5" creationId="{00000000-0000-0000-0000-000000000000}"/>
          </ac:spMkLst>
        </pc:spChg>
        <pc:graphicFrameChg chg="modGraphic">
          <ac:chgData name="Thotakura, Ashok" userId="8def16fa-05a4-42f6-9097-35114c55c601" providerId="ADAL" clId="{5DAF6767-078C-412C-B8CD-C827F0029FF4}" dt="2020-08-27T10:06:16.328" v="66" actId="20577"/>
          <ac:graphicFrameMkLst>
            <pc:docMk/>
            <pc:sldMk cId="1207151774" sldId="641"/>
            <ac:graphicFrameMk id="2" creationId="{EFE52470-BA62-49BF-A431-55C6BEED9B88}"/>
          </ac:graphicFrameMkLst>
        </pc:graphicFrameChg>
        <pc:graphicFrameChg chg="modGraphic">
          <ac:chgData name="Thotakura, Ashok" userId="8def16fa-05a4-42f6-9097-35114c55c601" providerId="ADAL" clId="{5DAF6767-078C-412C-B8CD-C827F0029FF4}" dt="2020-08-27T10:04:30.327" v="32" actId="20577"/>
          <ac:graphicFrameMkLst>
            <pc:docMk/>
            <pc:sldMk cId="1207151774" sldId="641"/>
            <ac:graphicFrameMk id="8" creationId="{00000000-0000-0000-0000-000000000000}"/>
          </ac:graphicFrameMkLst>
        </pc:graphicFrameChg>
      </pc:sldChg>
      <pc:sldChg chg="addSp delSp modSp add mod">
        <pc:chgData name="Thotakura, Ashok" userId="8def16fa-05a4-42f6-9097-35114c55c601" providerId="ADAL" clId="{5DAF6767-078C-412C-B8CD-C827F0029FF4}" dt="2020-08-27T10:16:32.020" v="153" actId="1076"/>
        <pc:sldMkLst>
          <pc:docMk/>
          <pc:sldMk cId="2324831811" sldId="642"/>
        </pc:sldMkLst>
        <pc:spChg chg="mod">
          <ac:chgData name="Thotakura, Ashok" userId="8def16fa-05a4-42f6-9097-35114c55c601" providerId="ADAL" clId="{5DAF6767-078C-412C-B8CD-C827F0029FF4}" dt="2020-08-27T10:16:24.191" v="150" actId="20577"/>
          <ac:spMkLst>
            <pc:docMk/>
            <pc:sldMk cId="2324831811" sldId="642"/>
            <ac:spMk id="2" creationId="{00000000-0000-0000-0000-000000000000}"/>
          </ac:spMkLst>
        </pc:spChg>
        <pc:picChg chg="add mod">
          <ac:chgData name="Thotakura, Ashok" userId="8def16fa-05a4-42f6-9097-35114c55c601" providerId="ADAL" clId="{5DAF6767-078C-412C-B8CD-C827F0029FF4}" dt="2020-08-27T10:16:32.020" v="153" actId="1076"/>
          <ac:picMkLst>
            <pc:docMk/>
            <pc:sldMk cId="2324831811" sldId="642"/>
            <ac:picMk id="3" creationId="{49A0145C-D610-4116-A648-1F6A1CA5054D}"/>
          </ac:picMkLst>
        </pc:picChg>
        <pc:picChg chg="del">
          <ac:chgData name="Thotakura, Ashok" userId="8def16fa-05a4-42f6-9097-35114c55c601" providerId="ADAL" clId="{5DAF6767-078C-412C-B8CD-C827F0029FF4}" dt="2020-08-27T10:16:29.018" v="151" actId="478"/>
          <ac:picMkLst>
            <pc:docMk/>
            <pc:sldMk cId="2324831811" sldId="642"/>
            <ac:picMk id="4" creationId="{1B5BE330-CA44-4F3B-9D8D-96C8F4898FD0}"/>
          </ac:picMkLst>
        </pc:picChg>
      </pc:sldChg>
    </pc:docChg>
  </pc:docChgLst>
  <pc:docChgLst>
    <pc:chgData name="Thotakura, Ashok" userId="8def16fa-05a4-42f6-9097-35114c55c601" providerId="ADAL" clId="{335DD91B-26FC-49E6-B8AB-48E90A34CBA4}"/>
    <pc:docChg chg="modSld">
      <pc:chgData name="Thotakura, Ashok" userId="8def16fa-05a4-42f6-9097-35114c55c601" providerId="ADAL" clId="{335DD91B-26FC-49E6-B8AB-48E90A34CBA4}" dt="2021-02-11T07:28:51.675" v="131" actId="20577"/>
      <pc:docMkLst>
        <pc:docMk/>
      </pc:docMkLst>
      <pc:sldChg chg="modSp">
        <pc:chgData name="Thotakura, Ashok" userId="8def16fa-05a4-42f6-9097-35114c55c601" providerId="ADAL" clId="{335DD91B-26FC-49E6-B8AB-48E90A34CBA4}" dt="2021-02-11T07:28:51.675" v="131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335DD91B-26FC-49E6-B8AB-48E90A34CBA4}" dt="2021-02-11T07:28:51.675" v="131" actId="20577"/>
          <ac:spMkLst>
            <pc:docMk/>
            <pc:sldMk cId="954719197" sldId="626"/>
            <ac:spMk id="17" creationId="{C4353D8C-2FE4-404C-B620-F2FDADF7A733}"/>
          </ac:spMkLst>
        </pc:spChg>
      </pc:sldChg>
    </pc:docChg>
  </pc:docChgLst>
  <pc:docChgLst>
    <pc:chgData name="Vallepalli, Thandava" userId="61f37ead-8e94-430f-ab46-1cf20f09dc50" providerId="ADAL" clId="{CDEB3310-CE60-4F03-A4A1-F60F539648C3}"/>
    <pc:docChg chg="custSel modSld">
      <pc:chgData name="Vallepalli, Thandava" userId="61f37ead-8e94-430f-ab46-1cf20f09dc50" providerId="ADAL" clId="{CDEB3310-CE60-4F03-A4A1-F60F539648C3}" dt="2021-01-28T22:14:13.022" v="341" actId="20577"/>
      <pc:docMkLst>
        <pc:docMk/>
      </pc:docMkLst>
      <pc:sldChg chg="modSp mod">
        <pc:chgData name="Vallepalli, Thandava" userId="61f37ead-8e94-430f-ab46-1cf20f09dc50" providerId="ADAL" clId="{CDEB3310-CE60-4F03-A4A1-F60F539648C3}" dt="2021-01-28T22:14:13.022" v="341" actId="20577"/>
        <pc:sldMkLst>
          <pc:docMk/>
          <pc:sldMk cId="2536241305" sldId="519"/>
        </pc:sldMkLst>
        <pc:graphicFrameChg chg="modGraphic">
          <ac:chgData name="Vallepalli, Thandava" userId="61f37ead-8e94-430f-ab46-1cf20f09dc50" providerId="ADAL" clId="{CDEB3310-CE60-4F03-A4A1-F60F539648C3}" dt="2021-01-28T22:14:13.022" v="341" actId="20577"/>
          <ac:graphicFrameMkLst>
            <pc:docMk/>
            <pc:sldMk cId="2536241305" sldId="519"/>
            <ac:graphicFrameMk id="2" creationId="{655C2F71-081E-435D-B6CB-FDF84637D508}"/>
          </ac:graphicFrameMkLst>
        </pc:graphicFrameChg>
      </pc:sldChg>
    </pc:docChg>
  </pc:docChgLst>
  <pc:docChgLst>
    <pc:chgData name="Cirigire, Sushma" userId="S::scirigire@deloitte.com::f0534449-da85-4bf6-a8fd-71e6923962a2" providerId="AD" clId="Web-{69AA0F3A-711B-41B9-BC4E-E46AE18F28E6}"/>
    <pc:docChg chg="modSld">
      <pc:chgData name="Cirigire, Sushma" userId="S::scirigire@deloitte.com::f0534449-da85-4bf6-a8fd-71e6923962a2" providerId="AD" clId="Web-{69AA0F3A-711B-41B9-BC4E-E46AE18F28E6}" dt="2021-10-11T14:36:08.605" v="11"/>
      <pc:docMkLst>
        <pc:docMk/>
      </pc:docMkLst>
      <pc:sldChg chg="modSp">
        <pc:chgData name="Cirigire, Sushma" userId="S::scirigire@deloitte.com::f0534449-da85-4bf6-a8fd-71e6923962a2" providerId="AD" clId="Web-{69AA0F3A-711B-41B9-BC4E-E46AE18F28E6}" dt="2021-10-11T14:36:08.605" v="11"/>
        <pc:sldMkLst>
          <pc:docMk/>
          <pc:sldMk cId="3783079273" sldId="650"/>
        </pc:sldMkLst>
        <pc:graphicFrameChg chg="mod modGraphic">
          <ac:chgData name="Cirigire, Sushma" userId="S::scirigire@deloitte.com::f0534449-da85-4bf6-a8fd-71e6923962a2" providerId="AD" clId="Web-{69AA0F3A-711B-41B9-BC4E-E46AE18F28E6}" dt="2021-10-11T14:36:08.605" v="11"/>
          <ac:graphicFrameMkLst>
            <pc:docMk/>
            <pc:sldMk cId="3783079273" sldId="650"/>
            <ac:graphicFrameMk id="5" creationId="{90CCA062-A7F0-4C93-A28E-71B91C36E2E6}"/>
          </ac:graphicFrameMkLst>
        </pc:graphicFrameChg>
      </pc:sldChg>
    </pc:docChg>
  </pc:docChgLst>
  <pc:docChgLst>
    <pc:chgData name="Thotakura, Ashok" userId="8def16fa-05a4-42f6-9097-35114c55c601" providerId="ADAL" clId="{1C0548F3-AE4D-49A0-97DC-F78AC57355D6}"/>
    <pc:docChg chg="undo custSel addSld delSld modSld sldOrd">
      <pc:chgData name="Thotakura, Ashok" userId="8def16fa-05a4-42f6-9097-35114c55c601" providerId="ADAL" clId="{1C0548F3-AE4D-49A0-97DC-F78AC57355D6}" dt="2020-09-23T10:24:12.827" v="432"/>
      <pc:docMkLst>
        <pc:docMk/>
      </pc:docMkLst>
      <pc:sldChg chg="modSp">
        <pc:chgData name="Thotakura, Ashok" userId="8def16fa-05a4-42f6-9097-35114c55c601" providerId="ADAL" clId="{1C0548F3-AE4D-49A0-97DC-F78AC57355D6}" dt="2020-09-17T09:49:28.364" v="2" actId="20577"/>
        <pc:sldMkLst>
          <pc:docMk/>
          <pc:sldMk cId="2018669121" sldId="457"/>
        </pc:sldMkLst>
        <pc:spChg chg="mod">
          <ac:chgData name="Thotakura, Ashok" userId="8def16fa-05a4-42f6-9097-35114c55c601" providerId="ADAL" clId="{1C0548F3-AE4D-49A0-97DC-F78AC57355D6}" dt="2020-09-17T09:49:20.300" v="1" actId="20577"/>
          <ac:spMkLst>
            <pc:docMk/>
            <pc:sldMk cId="2018669121" sldId="457"/>
            <ac:spMk id="4" creationId="{00000000-0000-0000-0000-000000000000}"/>
          </ac:spMkLst>
        </pc:spChg>
        <pc:spChg chg="mod">
          <ac:chgData name="Thotakura, Ashok" userId="8def16fa-05a4-42f6-9097-35114c55c601" providerId="ADAL" clId="{1C0548F3-AE4D-49A0-97DC-F78AC57355D6}" dt="2020-09-17T09:49:28.364" v="2" actId="20577"/>
          <ac:spMkLst>
            <pc:docMk/>
            <pc:sldMk cId="2018669121" sldId="457"/>
            <ac:spMk id="5" creationId="{00000000-0000-0000-0000-000000000000}"/>
          </ac:spMkLst>
        </pc:spChg>
      </pc:sldChg>
      <pc:sldChg chg="addSp delSp modSp add del">
        <pc:chgData name="Thotakura, Ashok" userId="8def16fa-05a4-42f6-9097-35114c55c601" providerId="ADAL" clId="{1C0548F3-AE4D-49A0-97DC-F78AC57355D6}" dt="2020-09-22T12:45:02.144" v="424"/>
        <pc:sldMkLst>
          <pc:docMk/>
          <pc:sldMk cId="1764304501" sldId="473"/>
        </pc:sldMkLst>
        <pc:spChg chg="mod">
          <ac:chgData name="Thotakura, Ashok" userId="8def16fa-05a4-42f6-9097-35114c55c601" providerId="ADAL" clId="{1C0548F3-AE4D-49A0-97DC-F78AC57355D6}" dt="2020-09-17T09:52:36.807" v="155" actId="14100"/>
          <ac:spMkLst>
            <pc:docMk/>
            <pc:sldMk cId="1764304501" sldId="473"/>
            <ac:spMk id="2" creationId="{00000000-0000-0000-0000-000000000000}"/>
          </ac:spMkLst>
        </pc:spChg>
        <pc:picChg chg="del mod">
          <ac:chgData name="Thotakura, Ashok" userId="8def16fa-05a4-42f6-9097-35114c55c601" providerId="ADAL" clId="{1C0548F3-AE4D-49A0-97DC-F78AC57355D6}" dt="2020-09-21T11:30:03.120" v="372" actId="478"/>
          <ac:picMkLst>
            <pc:docMk/>
            <pc:sldMk cId="1764304501" sldId="473"/>
            <ac:picMk id="3" creationId="{269401AC-3294-46AC-ADAD-E0E59BF628CB}"/>
          </ac:picMkLst>
        </pc:picChg>
        <pc:picChg chg="add">
          <ac:chgData name="Thotakura, Ashok" userId="8def16fa-05a4-42f6-9097-35114c55c601" providerId="ADAL" clId="{1C0548F3-AE4D-49A0-97DC-F78AC57355D6}" dt="2020-09-22T12:45:02.144" v="424"/>
          <ac:picMkLst>
            <pc:docMk/>
            <pc:sldMk cId="1764304501" sldId="473"/>
            <ac:picMk id="3" creationId="{771D3A24-DD37-4C3D-9F28-1F35253F18AA}"/>
          </ac:picMkLst>
        </pc:picChg>
        <pc:picChg chg="add del mod">
          <ac:chgData name="Thotakura, Ashok" userId="8def16fa-05a4-42f6-9097-35114c55c601" providerId="ADAL" clId="{1C0548F3-AE4D-49A0-97DC-F78AC57355D6}" dt="2020-09-22T12:45:01.628" v="423" actId="478"/>
          <ac:picMkLst>
            <pc:docMk/>
            <pc:sldMk cId="1764304501" sldId="473"/>
            <ac:picMk id="4" creationId="{A76C0CFA-CB76-4DA6-BDE2-A1DFDB333B4E}"/>
          </ac:picMkLst>
        </pc:picChg>
      </pc:sldChg>
      <pc:sldChg chg="addSp delSp">
        <pc:chgData name="Thotakura, Ashok" userId="8def16fa-05a4-42f6-9097-35114c55c601" providerId="ADAL" clId="{1C0548F3-AE4D-49A0-97DC-F78AC57355D6}" dt="2020-09-23T10:24:12.827" v="432"/>
        <pc:sldMkLst>
          <pc:docMk/>
          <pc:sldMk cId="3772836641" sldId="474"/>
        </pc:sldMkLst>
        <pc:picChg chg="del">
          <ac:chgData name="Thotakura, Ashok" userId="8def16fa-05a4-42f6-9097-35114c55c601" providerId="ADAL" clId="{1C0548F3-AE4D-49A0-97DC-F78AC57355D6}" dt="2020-09-23T10:24:11.513" v="431" actId="478"/>
          <ac:picMkLst>
            <pc:docMk/>
            <pc:sldMk cId="3772836641" sldId="474"/>
            <ac:picMk id="4" creationId="{1B5BE330-CA44-4F3B-9D8D-96C8F4898FD0}"/>
          </ac:picMkLst>
        </pc:picChg>
        <pc:picChg chg="add">
          <ac:chgData name="Thotakura, Ashok" userId="8def16fa-05a4-42f6-9097-35114c55c601" providerId="ADAL" clId="{1C0548F3-AE4D-49A0-97DC-F78AC57355D6}" dt="2020-09-23T10:24:12.827" v="432"/>
          <ac:picMkLst>
            <pc:docMk/>
            <pc:sldMk cId="3772836641" sldId="474"/>
            <ac:picMk id="5" creationId="{151A274C-169F-409C-BDA1-058F6B858CBB}"/>
          </ac:picMkLst>
        </pc:picChg>
      </pc:sldChg>
      <pc:sldChg chg="modSp">
        <pc:chgData name="Thotakura, Ashok" userId="8def16fa-05a4-42f6-9097-35114c55c601" providerId="ADAL" clId="{1C0548F3-AE4D-49A0-97DC-F78AC57355D6}" dt="2020-09-21T11:39:44.410" v="385" actId="20577"/>
        <pc:sldMkLst>
          <pc:docMk/>
          <pc:sldMk cId="4073052137" sldId="503"/>
        </pc:sldMkLst>
        <pc:graphicFrameChg chg="modGraphic">
          <ac:chgData name="Thotakura, Ashok" userId="8def16fa-05a4-42f6-9097-35114c55c601" providerId="ADAL" clId="{1C0548F3-AE4D-49A0-97DC-F78AC57355D6}" dt="2020-09-21T11:39:44.410" v="385" actId="20577"/>
          <ac:graphicFrameMkLst>
            <pc:docMk/>
            <pc:sldMk cId="4073052137" sldId="503"/>
            <ac:graphicFrameMk id="4" creationId="{00000000-0000-0000-0000-000000000000}"/>
          </ac:graphicFrameMkLst>
        </pc:graphicFrameChg>
      </pc:sldChg>
      <pc:sldChg chg="modSp">
        <pc:chgData name="Thotakura, Ashok" userId="8def16fa-05a4-42f6-9097-35114c55c601" providerId="ADAL" clId="{1C0548F3-AE4D-49A0-97DC-F78AC57355D6}" dt="2020-09-21T11:26:06.151" v="371" actId="20577"/>
        <pc:sldMkLst>
          <pc:docMk/>
          <pc:sldMk cId="653286514" sldId="517"/>
        </pc:sldMkLst>
        <pc:graphicFrameChg chg="modGraphic">
          <ac:chgData name="Thotakura, Ashok" userId="8def16fa-05a4-42f6-9097-35114c55c601" providerId="ADAL" clId="{1C0548F3-AE4D-49A0-97DC-F78AC57355D6}" dt="2020-09-21T11:26:06.151" v="371" actId="20577"/>
          <ac:graphicFrameMkLst>
            <pc:docMk/>
            <pc:sldMk cId="653286514" sldId="517"/>
            <ac:graphicFrameMk id="3" creationId="{00000000-0000-0000-0000-000000000000}"/>
          </ac:graphicFrameMkLst>
        </pc:graphicFrameChg>
      </pc:sldChg>
      <pc:sldChg chg="modSp">
        <pc:chgData name="Thotakura, Ashok" userId="8def16fa-05a4-42f6-9097-35114c55c601" providerId="ADAL" clId="{1C0548F3-AE4D-49A0-97DC-F78AC57355D6}" dt="2020-09-17T11:38:44.903" v="350" actId="20577"/>
        <pc:sldMkLst>
          <pc:docMk/>
          <pc:sldMk cId="3438221511" sldId="526"/>
        </pc:sldMkLst>
        <pc:graphicFrameChg chg="mod modGraphic">
          <ac:chgData name="Thotakura, Ashok" userId="8def16fa-05a4-42f6-9097-35114c55c601" providerId="ADAL" clId="{1C0548F3-AE4D-49A0-97DC-F78AC57355D6}" dt="2020-09-17T11:38:44.903" v="350" actId="20577"/>
          <ac:graphicFrameMkLst>
            <pc:docMk/>
            <pc:sldMk cId="3438221511" sldId="526"/>
            <ac:graphicFrameMk id="3" creationId="{3F4AD96D-49E5-3C43-A605-905ED4F9ED3E}"/>
          </ac:graphicFrameMkLst>
        </pc:graphicFrameChg>
      </pc:sldChg>
      <pc:sldChg chg="modSp">
        <pc:chgData name="Thotakura, Ashok" userId="8def16fa-05a4-42f6-9097-35114c55c601" providerId="ADAL" clId="{1C0548F3-AE4D-49A0-97DC-F78AC57355D6}" dt="2020-09-22T13:07:50.233" v="430" actId="6549"/>
        <pc:sldMkLst>
          <pc:docMk/>
          <pc:sldMk cId="2601424541" sldId="624"/>
        </pc:sldMkLst>
        <pc:spChg chg="mod">
          <ac:chgData name="Thotakura, Ashok" userId="8def16fa-05a4-42f6-9097-35114c55c601" providerId="ADAL" clId="{1C0548F3-AE4D-49A0-97DC-F78AC57355D6}" dt="2020-09-22T13:07:50.233" v="430" actId="6549"/>
          <ac:spMkLst>
            <pc:docMk/>
            <pc:sldMk cId="2601424541" sldId="624"/>
            <ac:spMk id="32" creationId="{C49BBAAC-EFEB-BC43-A26F-7AA97981D3E9}"/>
          </ac:spMkLst>
        </pc:spChg>
      </pc:sldChg>
      <pc:sldChg chg="modSp">
        <pc:chgData name="Thotakura, Ashok" userId="8def16fa-05a4-42f6-9097-35114c55c601" providerId="ADAL" clId="{1C0548F3-AE4D-49A0-97DC-F78AC57355D6}" dt="2020-09-17T09:51:47.692" v="143" actId="6549"/>
        <pc:sldMkLst>
          <pc:docMk/>
          <pc:sldMk cId="954719197" sldId="626"/>
        </pc:sldMkLst>
        <pc:spChg chg="mod">
          <ac:chgData name="Thotakura, Ashok" userId="8def16fa-05a4-42f6-9097-35114c55c601" providerId="ADAL" clId="{1C0548F3-AE4D-49A0-97DC-F78AC57355D6}" dt="2020-09-17T09:51:47.692" v="143" actId="6549"/>
          <ac:spMkLst>
            <pc:docMk/>
            <pc:sldMk cId="954719197" sldId="626"/>
            <ac:spMk id="17" creationId="{C4353D8C-2FE4-404C-B620-F2FDADF7A733}"/>
          </ac:spMkLst>
        </pc:spChg>
      </pc:sldChg>
      <pc:sldChg chg="modSp">
        <pc:chgData name="Thotakura, Ashok" userId="8def16fa-05a4-42f6-9097-35114c55c601" providerId="ADAL" clId="{1C0548F3-AE4D-49A0-97DC-F78AC57355D6}" dt="2020-09-17T10:49:21.514" v="272" actId="13926"/>
        <pc:sldMkLst>
          <pc:docMk/>
          <pc:sldMk cId="2307693630" sldId="630"/>
        </pc:sldMkLst>
        <pc:graphicFrameChg chg="mod modGraphic">
          <ac:chgData name="Thotakura, Ashok" userId="8def16fa-05a4-42f6-9097-35114c55c601" providerId="ADAL" clId="{1C0548F3-AE4D-49A0-97DC-F78AC57355D6}" dt="2020-09-17T10:49:21.514" v="272" actId="13926"/>
          <ac:graphicFrameMkLst>
            <pc:docMk/>
            <pc:sldMk cId="2307693630" sldId="630"/>
            <ac:graphicFrameMk id="3" creationId="{00000000-0000-0000-0000-000000000000}"/>
          </ac:graphicFrameMkLst>
        </pc:graphicFrameChg>
      </pc:sldChg>
      <pc:sldChg chg="addSp delSp">
        <pc:chgData name="Thotakura, Ashok" userId="8def16fa-05a4-42f6-9097-35114c55c601" providerId="ADAL" clId="{1C0548F3-AE4D-49A0-97DC-F78AC57355D6}" dt="2020-09-22T12:32:02.622" v="422"/>
        <pc:sldMkLst>
          <pc:docMk/>
          <pc:sldMk cId="1231956484" sldId="639"/>
        </pc:sldMkLst>
        <pc:picChg chg="add">
          <ac:chgData name="Thotakura, Ashok" userId="8def16fa-05a4-42f6-9097-35114c55c601" providerId="ADAL" clId="{1C0548F3-AE4D-49A0-97DC-F78AC57355D6}" dt="2020-09-22T12:32:02.622" v="422"/>
          <ac:picMkLst>
            <pc:docMk/>
            <pc:sldMk cId="1231956484" sldId="639"/>
            <ac:picMk id="3" creationId="{CE46B554-6593-4ACF-AE04-63A905DC88DA}"/>
          </ac:picMkLst>
        </pc:picChg>
        <pc:picChg chg="del">
          <ac:chgData name="Thotakura, Ashok" userId="8def16fa-05a4-42f6-9097-35114c55c601" providerId="ADAL" clId="{1C0548F3-AE4D-49A0-97DC-F78AC57355D6}" dt="2020-09-17T09:51:59.825" v="144" actId="478"/>
          <ac:picMkLst>
            <pc:docMk/>
            <pc:sldMk cId="1231956484" sldId="639"/>
            <ac:picMk id="3" creationId="{E9D64F4C-2E25-417B-BA3D-766AAA8BE436}"/>
          </ac:picMkLst>
        </pc:picChg>
        <pc:picChg chg="add del">
          <ac:chgData name="Thotakura, Ashok" userId="8def16fa-05a4-42f6-9097-35114c55c601" providerId="ADAL" clId="{1C0548F3-AE4D-49A0-97DC-F78AC57355D6}" dt="2020-09-22T12:32:01.930" v="421" actId="478"/>
          <ac:picMkLst>
            <pc:docMk/>
            <pc:sldMk cId="1231956484" sldId="639"/>
            <ac:picMk id="4" creationId="{DD45DAE3-6391-4D27-B70E-980A17EB8CA5}"/>
          </ac:picMkLst>
        </pc:picChg>
      </pc:sldChg>
      <pc:sldChg chg="modSp">
        <pc:chgData name="Thotakura, Ashok" userId="8def16fa-05a4-42f6-9097-35114c55c601" providerId="ADAL" clId="{1C0548F3-AE4D-49A0-97DC-F78AC57355D6}" dt="2020-09-22T12:03:26.719" v="420" actId="108"/>
        <pc:sldMkLst>
          <pc:docMk/>
          <pc:sldMk cId="1207151774" sldId="641"/>
        </pc:sldMkLst>
        <pc:graphicFrameChg chg="mod modGraphic">
          <ac:chgData name="Thotakura, Ashok" userId="8def16fa-05a4-42f6-9097-35114c55c601" providerId="ADAL" clId="{1C0548F3-AE4D-49A0-97DC-F78AC57355D6}" dt="2020-09-22T12:03:26.719" v="420" actId="108"/>
          <ac:graphicFrameMkLst>
            <pc:docMk/>
            <pc:sldMk cId="1207151774" sldId="641"/>
            <ac:graphicFrameMk id="2" creationId="{EFE52470-BA62-49BF-A431-55C6BEED9B88}"/>
          </ac:graphicFrameMkLst>
        </pc:graphicFrameChg>
        <pc:graphicFrameChg chg="modGraphic">
          <ac:chgData name="Thotakura, Ashok" userId="8def16fa-05a4-42f6-9097-35114c55c601" providerId="ADAL" clId="{1C0548F3-AE4D-49A0-97DC-F78AC57355D6}" dt="2020-09-17T09:50:54.193" v="67" actId="313"/>
          <ac:graphicFrameMkLst>
            <pc:docMk/>
            <pc:sldMk cId="1207151774" sldId="641"/>
            <ac:graphicFrameMk id="8" creationId="{00000000-0000-0000-0000-000000000000}"/>
          </ac:graphicFrameMkLst>
        </pc:graphicFrameChg>
      </pc:sldChg>
      <pc:sldChg chg="addSp delSp modSp add">
        <pc:chgData name="Thotakura, Ashok" userId="8def16fa-05a4-42f6-9097-35114c55c601" providerId="ADAL" clId="{1C0548F3-AE4D-49A0-97DC-F78AC57355D6}" dt="2020-09-22T13:07:43.245" v="428" actId="1076"/>
        <pc:sldMkLst>
          <pc:docMk/>
          <pc:sldMk cId="4286428914" sldId="643"/>
        </pc:sldMkLst>
        <pc:spChg chg="mod">
          <ac:chgData name="Thotakura, Ashok" userId="8def16fa-05a4-42f6-9097-35114c55c601" providerId="ADAL" clId="{1C0548F3-AE4D-49A0-97DC-F78AC57355D6}" dt="2020-09-17T09:57:29.995" v="167" actId="20577"/>
          <ac:spMkLst>
            <pc:docMk/>
            <pc:sldMk cId="4286428914" sldId="643"/>
            <ac:spMk id="2" creationId="{00000000-0000-0000-0000-000000000000}"/>
          </ac:spMkLst>
        </pc:spChg>
        <pc:picChg chg="del">
          <ac:chgData name="Thotakura, Ashok" userId="8def16fa-05a4-42f6-9097-35114c55c601" providerId="ADAL" clId="{1C0548F3-AE4D-49A0-97DC-F78AC57355D6}" dt="2020-09-17T10:39:32.767" v="168" actId="478"/>
          <ac:picMkLst>
            <pc:docMk/>
            <pc:sldMk cId="4286428914" sldId="643"/>
            <ac:picMk id="3" creationId="{269401AC-3294-46AC-ADAD-E0E59BF628CB}"/>
          </ac:picMkLst>
        </pc:picChg>
        <pc:picChg chg="add mod">
          <ac:chgData name="Thotakura, Ashok" userId="8def16fa-05a4-42f6-9097-35114c55c601" providerId="ADAL" clId="{1C0548F3-AE4D-49A0-97DC-F78AC57355D6}" dt="2020-09-22T13:07:43.245" v="428" actId="1076"/>
          <ac:picMkLst>
            <pc:docMk/>
            <pc:sldMk cId="4286428914" sldId="643"/>
            <ac:picMk id="3" creationId="{635D6FED-D508-426B-A788-130CD139B726}"/>
          </ac:picMkLst>
        </pc:picChg>
        <pc:picChg chg="add del mod">
          <ac:chgData name="Thotakura, Ashok" userId="8def16fa-05a4-42f6-9097-35114c55c601" providerId="ADAL" clId="{1C0548F3-AE4D-49A0-97DC-F78AC57355D6}" dt="2020-09-22T13:07:37.816" v="425" actId="478"/>
          <ac:picMkLst>
            <pc:docMk/>
            <pc:sldMk cId="4286428914" sldId="643"/>
            <ac:picMk id="4" creationId="{7945D7B3-4F1C-4AA8-8411-3D81AD8100D8}"/>
          </ac:picMkLst>
        </pc:picChg>
      </pc:sldChg>
      <pc:sldChg chg="addSp delSp modSp add ord">
        <pc:chgData name="Thotakura, Ashok" userId="8def16fa-05a4-42f6-9097-35114c55c601" providerId="ADAL" clId="{1C0548F3-AE4D-49A0-97DC-F78AC57355D6}" dt="2020-09-17T11:40:33.286" v="362" actId="1076"/>
        <pc:sldMkLst>
          <pc:docMk/>
          <pc:sldMk cId="749221862" sldId="644"/>
        </pc:sldMkLst>
        <pc:spChg chg="mod">
          <ac:chgData name="Thotakura, Ashok" userId="8def16fa-05a4-42f6-9097-35114c55c601" providerId="ADAL" clId="{1C0548F3-AE4D-49A0-97DC-F78AC57355D6}" dt="2020-09-17T11:39:44.247" v="356" actId="6549"/>
          <ac:spMkLst>
            <pc:docMk/>
            <pc:sldMk cId="749221862" sldId="644"/>
            <ac:spMk id="2" creationId="{00000000-0000-0000-0000-000000000000}"/>
          </ac:spMkLst>
        </pc:spChg>
        <pc:picChg chg="add del mod">
          <ac:chgData name="Thotakura, Ashok" userId="8def16fa-05a4-42f6-9097-35114c55c601" providerId="ADAL" clId="{1C0548F3-AE4D-49A0-97DC-F78AC57355D6}" dt="2020-09-17T11:40:04.646" v="358" actId="478"/>
          <ac:picMkLst>
            <pc:docMk/>
            <pc:sldMk cId="749221862" sldId="644"/>
            <ac:picMk id="3" creationId="{C1DF3ADC-5CE3-4C3D-9C60-159301690F33}"/>
          </ac:picMkLst>
        </pc:picChg>
        <pc:picChg chg="add del">
          <ac:chgData name="Thotakura, Ashok" userId="8def16fa-05a4-42f6-9097-35114c55c601" providerId="ADAL" clId="{1C0548F3-AE4D-49A0-97DC-F78AC57355D6}" dt="2020-09-17T11:40:07.174" v="360" actId="478"/>
          <ac:picMkLst>
            <pc:docMk/>
            <pc:sldMk cId="749221862" sldId="644"/>
            <ac:picMk id="4" creationId="{88F77EF9-776B-4AC3-A496-D73F5B57DE1F}"/>
          </ac:picMkLst>
        </pc:picChg>
        <pc:picChg chg="del">
          <ac:chgData name="Thotakura, Ashok" userId="8def16fa-05a4-42f6-9097-35114c55c601" providerId="ADAL" clId="{1C0548F3-AE4D-49A0-97DC-F78AC57355D6}" dt="2020-09-17T11:39:10.886" v="353" actId="478"/>
          <ac:picMkLst>
            <pc:docMk/>
            <pc:sldMk cId="749221862" sldId="644"/>
            <ac:picMk id="5" creationId="{F549E651-D0B3-4CBE-9B0B-141B98D62BF2}"/>
          </ac:picMkLst>
        </pc:picChg>
        <pc:picChg chg="add mod">
          <ac:chgData name="Thotakura, Ashok" userId="8def16fa-05a4-42f6-9097-35114c55c601" providerId="ADAL" clId="{1C0548F3-AE4D-49A0-97DC-F78AC57355D6}" dt="2020-09-17T11:40:33.286" v="362" actId="1076"/>
          <ac:picMkLst>
            <pc:docMk/>
            <pc:sldMk cId="749221862" sldId="644"/>
            <ac:picMk id="6" creationId="{9B4F8DC9-C8BC-4EA1-8EE5-DF9BF028030B}"/>
          </ac:picMkLst>
        </pc:picChg>
      </pc:sldChg>
    </pc:docChg>
  </pc:docChgLst>
  <pc:docChgLst>
    <pc:chgData name="Thotakura, Ashok" userId="8def16fa-05a4-42f6-9097-35114c55c601" providerId="ADAL" clId="{A31C1501-9031-4446-AA58-80822123E173}"/>
    <pc:docChg chg="undo custSel addSld delSld modSld sldOrd">
      <pc:chgData name="Thotakura, Ashok" userId="8def16fa-05a4-42f6-9097-35114c55c601" providerId="ADAL" clId="{A31C1501-9031-4446-AA58-80822123E173}" dt="2021-03-12T10:22:32.234" v="1093" actId="1076"/>
      <pc:docMkLst>
        <pc:docMk/>
      </pc:docMkLst>
      <pc:sldChg chg="modSp">
        <pc:chgData name="Thotakura, Ashok" userId="8def16fa-05a4-42f6-9097-35114c55c601" providerId="ADAL" clId="{A31C1501-9031-4446-AA58-80822123E173}" dt="2021-02-16T14:34:49.878" v="24" actId="20577"/>
        <pc:sldMkLst>
          <pc:docMk/>
          <pc:sldMk cId="2018669121" sldId="457"/>
        </pc:sldMkLst>
        <pc:spChg chg="mod">
          <ac:chgData name="Thotakura, Ashok" userId="8def16fa-05a4-42f6-9097-35114c55c601" providerId="ADAL" clId="{A31C1501-9031-4446-AA58-80822123E173}" dt="2021-02-16T14:34:24.962" v="21" actId="313"/>
          <ac:spMkLst>
            <pc:docMk/>
            <pc:sldMk cId="2018669121" sldId="457"/>
            <ac:spMk id="4" creationId="{00000000-0000-0000-0000-000000000000}"/>
          </ac:spMkLst>
        </pc:spChg>
        <pc:spChg chg="mod">
          <ac:chgData name="Thotakura, Ashok" userId="8def16fa-05a4-42f6-9097-35114c55c601" providerId="ADAL" clId="{A31C1501-9031-4446-AA58-80822123E173}" dt="2021-02-16T14:34:49.878" v="24" actId="20577"/>
          <ac:spMkLst>
            <pc:docMk/>
            <pc:sldMk cId="2018669121" sldId="457"/>
            <ac:spMk id="5" creationId="{00000000-0000-0000-0000-000000000000}"/>
          </ac:spMkLst>
        </pc:spChg>
      </pc:sldChg>
      <pc:sldChg chg="addSp">
        <pc:chgData name="Thotakura, Ashok" userId="8def16fa-05a4-42f6-9097-35114c55c601" providerId="ADAL" clId="{A31C1501-9031-4446-AA58-80822123E173}" dt="2021-02-16T16:45:46.201" v="925" actId="9405"/>
        <pc:sldMkLst>
          <pc:docMk/>
          <pc:sldMk cId="1764304501" sldId="473"/>
        </pc:sldMkLst>
        <pc:inkChg chg="add">
          <ac:chgData name="Thotakura, Ashok" userId="8def16fa-05a4-42f6-9097-35114c55c601" providerId="ADAL" clId="{A31C1501-9031-4446-AA58-80822123E173}" dt="2021-02-16T16:45:46.201" v="925" actId="9405"/>
          <ac:inkMkLst>
            <pc:docMk/>
            <pc:sldMk cId="1764304501" sldId="473"/>
            <ac:inkMk id="3" creationId="{F24DF32B-D499-4CA1-9E93-63B410CB29FF}"/>
          </ac:inkMkLst>
        </pc:inkChg>
      </pc:sldChg>
      <pc:sldChg chg="modSp">
        <pc:chgData name="Thotakura, Ashok" userId="8def16fa-05a4-42f6-9097-35114c55c601" providerId="ADAL" clId="{A31C1501-9031-4446-AA58-80822123E173}" dt="2021-02-22T06:38:56.677" v="934" actId="2165"/>
        <pc:sldMkLst>
          <pc:docMk/>
          <pc:sldMk cId="1564247609" sldId="521"/>
        </pc:sldMkLst>
        <pc:graphicFrameChg chg="modGraphic">
          <ac:chgData name="Thotakura, Ashok" userId="8def16fa-05a4-42f6-9097-35114c55c601" providerId="ADAL" clId="{A31C1501-9031-4446-AA58-80822123E173}" dt="2021-02-22T06:38:56.677" v="934" actId="2165"/>
          <ac:graphicFrameMkLst>
            <pc:docMk/>
            <pc:sldMk cId="1564247609" sldId="521"/>
            <ac:graphicFrameMk id="8" creationId="{00000000-0000-0000-0000-000000000000}"/>
          </ac:graphicFrameMkLst>
        </pc:graphicFrameChg>
      </pc:sldChg>
      <pc:sldChg chg="modSp">
        <pc:chgData name="Thotakura, Ashok" userId="8def16fa-05a4-42f6-9097-35114c55c601" providerId="ADAL" clId="{A31C1501-9031-4446-AA58-80822123E173}" dt="2021-02-16T15:13:29.492" v="573" actId="20577"/>
        <pc:sldMkLst>
          <pc:docMk/>
          <pc:sldMk cId="954719197" sldId="626"/>
        </pc:sldMkLst>
        <pc:spChg chg="mod">
          <ac:chgData name="Thotakura, Ashok" userId="8def16fa-05a4-42f6-9097-35114c55c601" providerId="ADAL" clId="{A31C1501-9031-4446-AA58-80822123E173}" dt="2021-02-16T14:38:43.946" v="137"/>
          <ac:spMkLst>
            <pc:docMk/>
            <pc:sldMk cId="954719197" sldId="626"/>
            <ac:spMk id="15" creationId="{074C2DA8-19CE-D045-9434-5C5AB311BB25}"/>
          </ac:spMkLst>
        </pc:spChg>
        <pc:spChg chg="mod">
          <ac:chgData name="Thotakura, Ashok" userId="8def16fa-05a4-42f6-9097-35114c55c601" providerId="ADAL" clId="{A31C1501-9031-4446-AA58-80822123E173}" dt="2021-02-16T14:38:31.720" v="136"/>
          <ac:spMkLst>
            <pc:docMk/>
            <pc:sldMk cId="954719197" sldId="626"/>
            <ac:spMk id="16" creationId="{36A79F1E-03AC-B642-8C06-6A7AF071D418}"/>
          </ac:spMkLst>
        </pc:spChg>
        <pc:spChg chg="mod">
          <ac:chgData name="Thotakura, Ashok" userId="8def16fa-05a4-42f6-9097-35114c55c601" providerId="ADAL" clId="{A31C1501-9031-4446-AA58-80822123E173}" dt="2021-02-16T15:13:29.492" v="573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addSp delSp modSp">
        <pc:chgData name="Thotakura, Ashok" userId="8def16fa-05a4-42f6-9097-35114c55c601" providerId="ADAL" clId="{A31C1501-9031-4446-AA58-80822123E173}" dt="2021-02-22T07:19:28.247" v="1052"/>
        <pc:sldMkLst>
          <pc:docMk/>
          <pc:sldMk cId="2307693630" sldId="630"/>
        </pc:sldMkLst>
        <pc:spChg chg="del">
          <ac:chgData name="Thotakura, Ashok" userId="8def16fa-05a4-42f6-9097-35114c55c601" providerId="ADAL" clId="{A31C1501-9031-4446-AA58-80822123E173}" dt="2021-02-22T07:19:20.206" v="1047" actId="478"/>
          <ac:spMkLst>
            <pc:docMk/>
            <pc:sldMk cId="2307693630" sldId="630"/>
            <ac:spMk id="2" creationId="{00000000-0000-0000-0000-000000000000}"/>
          </ac:spMkLst>
        </pc:spChg>
        <pc:spChg chg="del">
          <ac:chgData name="Thotakura, Ashok" userId="8def16fa-05a4-42f6-9097-35114c55c601" providerId="ADAL" clId="{A31C1501-9031-4446-AA58-80822123E173}" dt="2021-02-22T07:19:20.206" v="1047" actId="478"/>
          <ac:spMkLst>
            <pc:docMk/>
            <pc:sldMk cId="2307693630" sldId="630"/>
            <ac:spMk id="4" creationId="{DE8CDE54-88B0-6F47-947F-4B540AB3E9A1}"/>
          </ac:spMkLst>
        </pc:spChg>
        <pc:spChg chg="del">
          <ac:chgData name="Thotakura, Ashok" userId="8def16fa-05a4-42f6-9097-35114c55c601" providerId="ADAL" clId="{A31C1501-9031-4446-AA58-80822123E173}" dt="2021-02-22T07:19:20.206" v="1047" actId="478"/>
          <ac:spMkLst>
            <pc:docMk/>
            <pc:sldMk cId="2307693630" sldId="630"/>
            <ac:spMk id="5" creationId="{F4FE4BA0-7EB0-4F94-B2FA-FF85F4124305}"/>
          </ac:spMkLst>
        </pc:spChg>
        <pc:spChg chg="del">
          <ac:chgData name="Thotakura, Ashok" userId="8def16fa-05a4-42f6-9097-35114c55c601" providerId="ADAL" clId="{A31C1501-9031-4446-AA58-80822123E173}" dt="2021-02-22T07:19:20.206" v="1047" actId="478"/>
          <ac:spMkLst>
            <pc:docMk/>
            <pc:sldMk cId="2307693630" sldId="630"/>
            <ac:spMk id="6" creationId="{669363A8-CBD2-4CB0-8A20-81B8E3E54CAB}"/>
          </ac:spMkLst>
        </pc:spChg>
        <pc:spChg chg="add del mod">
          <ac:chgData name="Thotakura, Ashok" userId="8def16fa-05a4-42f6-9097-35114c55c601" providerId="ADAL" clId="{A31C1501-9031-4446-AA58-80822123E173}" dt="2021-02-22T07:19:27.211" v="1051" actId="478"/>
          <ac:spMkLst>
            <pc:docMk/>
            <pc:sldMk cId="2307693630" sldId="630"/>
            <ac:spMk id="8" creationId="{015665AB-BFDB-470B-8ADC-DB138488E23A}"/>
          </ac:spMkLst>
        </pc:spChg>
        <pc:spChg chg="add del mod">
          <ac:chgData name="Thotakura, Ashok" userId="8def16fa-05a4-42f6-9097-35114c55c601" providerId="ADAL" clId="{A31C1501-9031-4446-AA58-80822123E173}" dt="2021-02-22T07:19:25.354" v="1050" actId="478"/>
          <ac:spMkLst>
            <pc:docMk/>
            <pc:sldMk cId="2307693630" sldId="630"/>
            <ac:spMk id="10" creationId="{F891A883-3167-4CC6-B205-5D860093D057}"/>
          </ac:spMkLst>
        </pc:spChg>
        <pc:spChg chg="add del">
          <ac:chgData name="Thotakura, Ashok" userId="8def16fa-05a4-42f6-9097-35114c55c601" providerId="ADAL" clId="{A31C1501-9031-4446-AA58-80822123E173}" dt="2021-02-22T07:19:22.250" v="1049"/>
          <ac:spMkLst>
            <pc:docMk/>
            <pc:sldMk cId="2307693630" sldId="630"/>
            <ac:spMk id="11" creationId="{8C773A90-931D-4123-A9AC-26018FD2DC94}"/>
          </ac:spMkLst>
        </pc:spChg>
        <pc:spChg chg="add del">
          <ac:chgData name="Thotakura, Ashok" userId="8def16fa-05a4-42f6-9097-35114c55c601" providerId="ADAL" clId="{A31C1501-9031-4446-AA58-80822123E173}" dt="2021-02-22T07:19:22.250" v="1049"/>
          <ac:spMkLst>
            <pc:docMk/>
            <pc:sldMk cId="2307693630" sldId="630"/>
            <ac:spMk id="12" creationId="{7ACA0BEF-1733-45D3-B3F9-3FBCA2D91AE8}"/>
          </ac:spMkLst>
        </pc:spChg>
        <pc:spChg chg="add del">
          <ac:chgData name="Thotakura, Ashok" userId="8def16fa-05a4-42f6-9097-35114c55c601" providerId="ADAL" clId="{A31C1501-9031-4446-AA58-80822123E173}" dt="2021-02-22T07:19:22.250" v="1049"/>
          <ac:spMkLst>
            <pc:docMk/>
            <pc:sldMk cId="2307693630" sldId="630"/>
            <ac:spMk id="14" creationId="{2A35C501-7075-4681-9949-5BAC56C9F7BE}"/>
          </ac:spMkLst>
        </pc:spChg>
        <pc:spChg chg="add del">
          <ac:chgData name="Thotakura, Ashok" userId="8def16fa-05a4-42f6-9097-35114c55c601" providerId="ADAL" clId="{A31C1501-9031-4446-AA58-80822123E173}" dt="2021-02-22T07:19:22.250" v="1049"/>
          <ac:spMkLst>
            <pc:docMk/>
            <pc:sldMk cId="2307693630" sldId="630"/>
            <ac:spMk id="15" creationId="{960314DB-430B-4DF5-A0BB-B902B9995165}"/>
          </ac:spMkLst>
        </pc:spChg>
        <pc:spChg chg="add">
          <ac:chgData name="Thotakura, Ashok" userId="8def16fa-05a4-42f6-9097-35114c55c601" providerId="ADAL" clId="{A31C1501-9031-4446-AA58-80822123E173}" dt="2021-02-22T07:19:28.247" v="1052"/>
          <ac:spMkLst>
            <pc:docMk/>
            <pc:sldMk cId="2307693630" sldId="630"/>
            <ac:spMk id="16" creationId="{28380DDE-C635-49BE-8995-D5C011BEB168}"/>
          </ac:spMkLst>
        </pc:spChg>
        <pc:spChg chg="add">
          <ac:chgData name="Thotakura, Ashok" userId="8def16fa-05a4-42f6-9097-35114c55c601" providerId="ADAL" clId="{A31C1501-9031-4446-AA58-80822123E173}" dt="2021-02-22T07:19:28.247" v="1052"/>
          <ac:spMkLst>
            <pc:docMk/>
            <pc:sldMk cId="2307693630" sldId="630"/>
            <ac:spMk id="17" creationId="{66D25C4C-0CB6-4077-8642-276A86BA0847}"/>
          </ac:spMkLst>
        </pc:spChg>
        <pc:spChg chg="add">
          <ac:chgData name="Thotakura, Ashok" userId="8def16fa-05a4-42f6-9097-35114c55c601" providerId="ADAL" clId="{A31C1501-9031-4446-AA58-80822123E173}" dt="2021-02-22T07:19:28.247" v="1052"/>
          <ac:spMkLst>
            <pc:docMk/>
            <pc:sldMk cId="2307693630" sldId="630"/>
            <ac:spMk id="19" creationId="{4F4890FF-9C7E-4720-BE8F-DEB41F789194}"/>
          </ac:spMkLst>
        </pc:spChg>
        <pc:spChg chg="add">
          <ac:chgData name="Thotakura, Ashok" userId="8def16fa-05a4-42f6-9097-35114c55c601" providerId="ADAL" clId="{A31C1501-9031-4446-AA58-80822123E173}" dt="2021-02-22T07:19:28.247" v="1052"/>
          <ac:spMkLst>
            <pc:docMk/>
            <pc:sldMk cId="2307693630" sldId="630"/>
            <ac:spMk id="20" creationId="{73172316-4C2D-4182-B4A6-B54F71BDE6BC}"/>
          </ac:spMkLst>
        </pc:spChg>
        <pc:graphicFrameChg chg="del">
          <ac:chgData name="Thotakura, Ashok" userId="8def16fa-05a4-42f6-9097-35114c55c601" providerId="ADAL" clId="{A31C1501-9031-4446-AA58-80822123E173}" dt="2021-02-22T07:19:20.206" v="1047" actId="478"/>
          <ac:graphicFrameMkLst>
            <pc:docMk/>
            <pc:sldMk cId="2307693630" sldId="630"/>
            <ac:graphicFrameMk id="3" creationId="{00000000-0000-0000-0000-000000000000}"/>
          </ac:graphicFrameMkLst>
        </pc:graphicFrameChg>
        <pc:graphicFrameChg chg="add del">
          <ac:chgData name="Thotakura, Ashok" userId="8def16fa-05a4-42f6-9097-35114c55c601" providerId="ADAL" clId="{A31C1501-9031-4446-AA58-80822123E173}" dt="2021-02-22T07:19:22.250" v="1049"/>
          <ac:graphicFrameMkLst>
            <pc:docMk/>
            <pc:sldMk cId="2307693630" sldId="630"/>
            <ac:graphicFrameMk id="13" creationId="{51FAE8EE-6A43-4660-A9FC-D23746849CF4}"/>
          </ac:graphicFrameMkLst>
        </pc:graphicFrameChg>
        <pc:graphicFrameChg chg="add">
          <ac:chgData name="Thotakura, Ashok" userId="8def16fa-05a4-42f6-9097-35114c55c601" providerId="ADAL" clId="{A31C1501-9031-4446-AA58-80822123E173}" dt="2021-02-22T07:19:28.247" v="1052"/>
          <ac:graphicFrameMkLst>
            <pc:docMk/>
            <pc:sldMk cId="2307693630" sldId="630"/>
            <ac:graphicFrameMk id="18" creationId="{E72F3CC5-C8E5-431C-98E2-D7BF10A768AC}"/>
          </ac:graphicFrameMkLst>
        </pc:graphicFrameChg>
      </pc:sldChg>
      <pc:sldChg chg="addSp delSp modSp">
        <pc:chgData name="Thotakura, Ashok" userId="8def16fa-05a4-42f6-9097-35114c55c601" providerId="ADAL" clId="{A31C1501-9031-4446-AA58-80822123E173}" dt="2021-02-22T11:14:54.751" v="1085" actId="9405"/>
        <pc:sldMkLst>
          <pc:docMk/>
          <pc:sldMk cId="1996427620" sldId="634"/>
        </pc:sldMkLst>
        <pc:spChg chg="del">
          <ac:chgData name="Thotakura, Ashok" userId="8def16fa-05a4-42f6-9097-35114c55c601" providerId="ADAL" clId="{A31C1501-9031-4446-AA58-80822123E173}" dt="2021-02-22T07:01:42.265" v="938" actId="478"/>
          <ac:spMkLst>
            <pc:docMk/>
            <pc:sldMk cId="1996427620" sldId="634"/>
            <ac:spMk id="2" creationId="{00000000-0000-0000-0000-000000000000}"/>
          </ac:spMkLst>
        </pc:spChg>
        <pc:spChg chg="add del mod">
          <ac:chgData name="Thotakura, Ashok" userId="8def16fa-05a4-42f6-9097-35114c55c601" providerId="ADAL" clId="{A31C1501-9031-4446-AA58-80822123E173}" dt="2021-02-22T07:01:55.170" v="940" actId="478"/>
          <ac:spMkLst>
            <pc:docMk/>
            <pc:sldMk cId="1996427620" sldId="634"/>
            <ac:spMk id="4" creationId="{4112DB61-FB5D-4208-A5D4-520491D351C3}"/>
          </ac:spMkLst>
        </pc:spChg>
        <pc:spChg chg="add">
          <ac:chgData name="Thotakura, Ashok" userId="8def16fa-05a4-42f6-9097-35114c55c601" providerId="ADAL" clId="{A31C1501-9031-4446-AA58-80822123E173}" dt="2021-02-22T07:01:42.610" v="939"/>
          <ac:spMkLst>
            <pc:docMk/>
            <pc:sldMk cId="1996427620" sldId="634"/>
            <ac:spMk id="14" creationId="{F9EB0994-6B3E-41EF-B023-5DA76625D38A}"/>
          </ac:spMkLst>
        </pc:spChg>
        <pc:picChg chg="add ord">
          <ac:chgData name="Thotakura, Ashok" userId="8def16fa-05a4-42f6-9097-35114c55c601" providerId="ADAL" clId="{A31C1501-9031-4446-AA58-80822123E173}" dt="2021-02-22T11:14:08.805" v="1078" actId="167"/>
          <ac:picMkLst>
            <pc:docMk/>
            <pc:sldMk cId="1996427620" sldId="634"/>
            <ac:picMk id="2" creationId="{759621E2-E82E-44F6-B1F8-7A2210B5FB62}"/>
          </ac:picMkLst>
        </pc:picChg>
        <pc:picChg chg="del">
          <ac:chgData name="Thotakura, Ashok" userId="8def16fa-05a4-42f6-9097-35114c55c601" providerId="ADAL" clId="{A31C1501-9031-4446-AA58-80822123E173}" dt="2021-02-16T14:52:11.154" v="174" actId="478"/>
          <ac:picMkLst>
            <pc:docMk/>
            <pc:sldMk cId="1996427620" sldId="634"/>
            <ac:picMk id="3" creationId="{2D83F3F0-8731-492B-AC04-128AFCA830A6}"/>
          </ac:picMkLst>
        </pc:picChg>
        <pc:picChg chg="add del">
          <ac:chgData name="Thotakura, Ashok" userId="8def16fa-05a4-42f6-9097-35114c55c601" providerId="ADAL" clId="{A31C1501-9031-4446-AA58-80822123E173}" dt="2021-02-16T15:20:33.668" v="576" actId="478"/>
          <ac:picMkLst>
            <pc:docMk/>
            <pc:sldMk cId="1996427620" sldId="634"/>
            <ac:picMk id="4" creationId="{EEA9F6E8-53BB-40E4-B910-B203546A4E2E}"/>
          </ac:picMkLst>
        </pc:picChg>
        <pc:picChg chg="add del">
          <ac:chgData name="Thotakura, Ashok" userId="8def16fa-05a4-42f6-9097-35114c55c601" providerId="ADAL" clId="{A31C1501-9031-4446-AA58-80822123E173}" dt="2021-02-16T15:26:42.359" v="578" actId="478"/>
          <ac:picMkLst>
            <pc:docMk/>
            <pc:sldMk cId="1996427620" sldId="634"/>
            <ac:picMk id="5" creationId="{D1A75B0B-5ECB-4FE6-ABE1-E2B55ADFADF4}"/>
          </ac:picMkLst>
        </pc:picChg>
        <pc:picChg chg="add del">
          <ac:chgData name="Thotakura, Ashok" userId="8def16fa-05a4-42f6-9097-35114c55c601" providerId="ADAL" clId="{A31C1501-9031-4446-AA58-80822123E173}" dt="2021-02-16T16:41:00.780" v="899" actId="478"/>
          <ac:picMkLst>
            <pc:docMk/>
            <pc:sldMk cId="1996427620" sldId="634"/>
            <ac:picMk id="6" creationId="{7D0A59CF-54D4-48A9-9D2A-AD674FBC1815}"/>
          </ac:picMkLst>
        </pc:picChg>
        <pc:picChg chg="add del">
          <ac:chgData name="Thotakura, Ashok" userId="8def16fa-05a4-42f6-9097-35114c55c601" providerId="ADAL" clId="{A31C1501-9031-4446-AA58-80822123E173}" dt="2021-02-16T16:44:36.509" v="907" actId="478"/>
          <ac:picMkLst>
            <pc:docMk/>
            <pc:sldMk cId="1996427620" sldId="634"/>
            <ac:picMk id="7" creationId="{E30701AA-32E4-40E4-8213-D3D234AEAC13}"/>
          </ac:picMkLst>
        </pc:picChg>
        <pc:picChg chg="add del mod ord">
          <ac:chgData name="Thotakura, Ashok" userId="8def16fa-05a4-42f6-9097-35114c55c601" providerId="ADAL" clId="{A31C1501-9031-4446-AA58-80822123E173}" dt="2021-02-22T07:01:42.265" v="938" actId="478"/>
          <ac:picMkLst>
            <pc:docMk/>
            <pc:sldMk cId="1996427620" sldId="634"/>
            <ac:picMk id="10" creationId="{C53F2EFD-60F5-43B8-818A-90F64A26BC81}"/>
          </ac:picMkLst>
        </pc:picChg>
        <pc:picChg chg="add del">
          <ac:chgData name="Thotakura, Ashok" userId="8def16fa-05a4-42f6-9097-35114c55c601" providerId="ADAL" clId="{A31C1501-9031-4446-AA58-80822123E173}" dt="2021-02-22T11:14:02.859" v="1076" actId="478"/>
          <ac:picMkLst>
            <pc:docMk/>
            <pc:sldMk cId="1996427620" sldId="634"/>
            <ac:picMk id="15" creationId="{F6DC220C-F01D-4E9A-A758-0CA202EA2B44}"/>
          </ac:picMkLst>
        </pc:picChg>
        <pc:inkChg chg="add del">
          <ac:chgData name="Thotakura, Ashok" userId="8def16fa-05a4-42f6-9097-35114c55c601" providerId="ADAL" clId="{A31C1501-9031-4446-AA58-80822123E173}" dt="2021-02-22T11:14:31.651" v="1082" actId="9405"/>
          <ac:inkMkLst>
            <pc:docMk/>
            <pc:sldMk cId="1996427620" sldId="634"/>
            <ac:inkMk id="3" creationId="{F1DF63AC-EE6F-4816-870B-8C186CA9E055}"/>
          </ac:inkMkLst>
        </pc:inkChg>
        <pc:inkChg chg="add">
          <ac:chgData name="Thotakura, Ashok" userId="8def16fa-05a4-42f6-9097-35114c55c601" providerId="ADAL" clId="{A31C1501-9031-4446-AA58-80822123E173}" dt="2021-02-22T11:14:41.382" v="1083" actId="9405"/>
          <ac:inkMkLst>
            <pc:docMk/>
            <pc:sldMk cId="1996427620" sldId="634"/>
            <ac:inkMk id="4" creationId="{93D50194-983B-45FB-A417-42B41E107D5E}"/>
          </ac:inkMkLst>
        </pc:inkChg>
        <pc:inkChg chg="add">
          <ac:chgData name="Thotakura, Ashok" userId="8def16fa-05a4-42f6-9097-35114c55c601" providerId="ADAL" clId="{A31C1501-9031-4446-AA58-80822123E173}" dt="2021-02-22T11:14:48.602" v="1084" actId="9405"/>
          <ac:inkMkLst>
            <pc:docMk/>
            <pc:sldMk cId="1996427620" sldId="634"/>
            <ac:inkMk id="5" creationId="{D7304B7B-C7D5-446E-A390-77E1BB0EEA01}"/>
          </ac:inkMkLst>
        </pc:inkChg>
        <pc:inkChg chg="add">
          <ac:chgData name="Thotakura, Ashok" userId="8def16fa-05a4-42f6-9097-35114c55c601" providerId="ADAL" clId="{A31C1501-9031-4446-AA58-80822123E173}" dt="2021-02-22T11:14:54.751" v="1085" actId="9405"/>
          <ac:inkMkLst>
            <pc:docMk/>
            <pc:sldMk cId="1996427620" sldId="634"/>
            <ac:inkMk id="6" creationId="{113D6607-EE35-43A3-9622-EA7E1B2E37DD}"/>
          </ac:inkMkLst>
        </pc:inkChg>
        <pc:inkChg chg="add del">
          <ac:chgData name="Thotakura, Ashok" userId="8def16fa-05a4-42f6-9097-35114c55c601" providerId="ADAL" clId="{A31C1501-9031-4446-AA58-80822123E173}" dt="2021-02-16T16:41:56.365" v="902" actId="9405"/>
          <ac:inkMkLst>
            <pc:docMk/>
            <pc:sldMk cId="1996427620" sldId="634"/>
            <ac:inkMk id="8" creationId="{56241CA8-63DD-42BB-AF29-F0B6D58BF443}"/>
          </ac:inkMkLst>
        </pc:inkChg>
        <pc:inkChg chg="add del">
          <ac:chgData name="Thotakura, Ashok" userId="8def16fa-05a4-42f6-9097-35114c55c601" providerId="ADAL" clId="{A31C1501-9031-4446-AA58-80822123E173}" dt="2021-02-22T07:01:42.265" v="938" actId="478"/>
          <ac:inkMkLst>
            <pc:docMk/>
            <pc:sldMk cId="1996427620" sldId="634"/>
            <ac:inkMk id="9" creationId="{7E8EE457-37E2-49E3-85D2-51361665FEE8}"/>
          </ac:inkMkLst>
        </pc:inkChg>
        <pc:inkChg chg="add del">
          <ac:chgData name="Thotakura, Ashok" userId="8def16fa-05a4-42f6-9097-35114c55c601" providerId="ADAL" clId="{A31C1501-9031-4446-AA58-80822123E173}" dt="2021-02-22T07:01:42.265" v="938" actId="478"/>
          <ac:inkMkLst>
            <pc:docMk/>
            <pc:sldMk cId="1996427620" sldId="634"/>
            <ac:inkMk id="11" creationId="{045E92B7-655C-467E-8F4F-1013CF86ECC8}"/>
          </ac:inkMkLst>
        </pc:inkChg>
        <pc:inkChg chg="add del">
          <ac:chgData name="Thotakura, Ashok" userId="8def16fa-05a4-42f6-9097-35114c55c601" providerId="ADAL" clId="{A31C1501-9031-4446-AA58-80822123E173}" dt="2021-02-22T07:01:42.265" v="938" actId="478"/>
          <ac:inkMkLst>
            <pc:docMk/>
            <pc:sldMk cId="1996427620" sldId="634"/>
            <ac:inkMk id="12" creationId="{F4E65B01-35D1-46C2-82BD-9B5221541F34}"/>
          </ac:inkMkLst>
        </pc:inkChg>
        <pc:inkChg chg="add del">
          <ac:chgData name="Thotakura, Ashok" userId="8def16fa-05a4-42f6-9097-35114c55c601" providerId="ADAL" clId="{A31C1501-9031-4446-AA58-80822123E173}" dt="2021-02-22T07:01:42.265" v="938" actId="478"/>
          <ac:inkMkLst>
            <pc:docMk/>
            <pc:sldMk cId="1996427620" sldId="634"/>
            <ac:inkMk id="13" creationId="{9AA5E35E-B692-4E82-86FE-C2CED59DD03C}"/>
          </ac:inkMkLst>
        </pc:inkChg>
        <pc:inkChg chg="add">
          <ac:chgData name="Thotakura, Ashok" userId="8def16fa-05a4-42f6-9097-35114c55c601" providerId="ADAL" clId="{A31C1501-9031-4446-AA58-80822123E173}" dt="2021-02-22T07:01:42.610" v="939"/>
          <ac:inkMkLst>
            <pc:docMk/>
            <pc:sldMk cId="1996427620" sldId="634"/>
            <ac:inkMk id="16" creationId="{6DCD0162-8A4D-4A72-B7F3-E6B29A75E1B1}"/>
          </ac:inkMkLst>
        </pc:inkChg>
        <pc:inkChg chg="add del">
          <ac:chgData name="Thotakura, Ashok" userId="8def16fa-05a4-42f6-9097-35114c55c601" providerId="ADAL" clId="{A31C1501-9031-4446-AA58-80822123E173}" dt="2021-02-22T11:14:10.819" v="1079" actId="478"/>
          <ac:inkMkLst>
            <pc:docMk/>
            <pc:sldMk cId="1996427620" sldId="634"/>
            <ac:inkMk id="17" creationId="{9210DED0-50B9-46F6-A1F4-ABBF4E33DF7D}"/>
          </ac:inkMkLst>
        </pc:inkChg>
        <pc:inkChg chg="add del">
          <ac:chgData name="Thotakura, Ashok" userId="8def16fa-05a4-42f6-9097-35114c55c601" providerId="ADAL" clId="{A31C1501-9031-4446-AA58-80822123E173}" dt="2021-02-22T11:14:13.488" v="1080" actId="478"/>
          <ac:inkMkLst>
            <pc:docMk/>
            <pc:sldMk cId="1996427620" sldId="634"/>
            <ac:inkMk id="18" creationId="{1F7D0BB5-E257-49D1-BC70-5CDE712EE814}"/>
          </ac:inkMkLst>
        </pc:inkChg>
      </pc:sldChg>
      <pc:sldChg chg="addSp delSp modSp">
        <pc:chgData name="Thotakura, Ashok" userId="8def16fa-05a4-42f6-9097-35114c55c601" providerId="ADAL" clId="{A31C1501-9031-4446-AA58-80822123E173}" dt="2021-02-22T11:16:27.326" v="1092"/>
        <pc:sldMkLst>
          <pc:docMk/>
          <pc:sldMk cId="1231956484" sldId="639"/>
        </pc:sldMkLst>
        <pc:spChg chg="del">
          <ac:chgData name="Thotakura, Ashok" userId="8def16fa-05a4-42f6-9097-35114c55c601" providerId="ADAL" clId="{A31C1501-9031-4446-AA58-80822123E173}" dt="2021-02-22T07:11:03.621" v="941" actId="478"/>
          <ac:spMkLst>
            <pc:docMk/>
            <pc:sldMk cId="1231956484" sldId="639"/>
            <ac:spMk id="2" creationId="{00000000-0000-0000-0000-000000000000}"/>
          </ac:spMkLst>
        </pc:spChg>
        <pc:spChg chg="add del mod">
          <ac:chgData name="Thotakura, Ashok" userId="8def16fa-05a4-42f6-9097-35114c55c601" providerId="ADAL" clId="{A31C1501-9031-4446-AA58-80822123E173}" dt="2021-02-22T07:11:07.335" v="943" actId="478"/>
          <ac:spMkLst>
            <pc:docMk/>
            <pc:sldMk cId="1231956484" sldId="639"/>
            <ac:spMk id="16" creationId="{1D52D3C3-68D1-48C2-B86F-70A38AA9CAD5}"/>
          </ac:spMkLst>
        </pc:spChg>
        <pc:spChg chg="add del">
          <ac:chgData name="Thotakura, Ashok" userId="8def16fa-05a4-42f6-9097-35114c55c601" providerId="ADAL" clId="{A31C1501-9031-4446-AA58-80822123E173}" dt="2021-02-22T07:23:06.883" v="1059" actId="478"/>
          <ac:spMkLst>
            <pc:docMk/>
            <pc:sldMk cId="1231956484" sldId="639"/>
            <ac:spMk id="17" creationId="{2973C806-405B-486C-9A10-C22461F4A04C}"/>
          </ac:spMkLst>
        </pc:spChg>
        <pc:spChg chg="add">
          <ac:chgData name="Thotakura, Ashok" userId="8def16fa-05a4-42f6-9097-35114c55c601" providerId="ADAL" clId="{A31C1501-9031-4446-AA58-80822123E173}" dt="2021-02-22T07:23:14.064" v="1060"/>
          <ac:spMkLst>
            <pc:docMk/>
            <pc:sldMk cId="1231956484" sldId="639"/>
            <ac:spMk id="25" creationId="{72A4E72F-2BB0-4315-B27B-15118D511E55}"/>
          </ac:spMkLst>
        </pc:spChg>
        <pc:picChg chg="add ord">
          <ac:chgData name="Thotakura, Ashok" userId="8def16fa-05a4-42f6-9097-35114c55c601" providerId="ADAL" clId="{A31C1501-9031-4446-AA58-80822123E173}" dt="2021-02-22T11:13:44.356" v="1072" actId="167"/>
          <ac:picMkLst>
            <pc:docMk/>
            <pc:sldMk cId="1231956484" sldId="639"/>
            <ac:picMk id="3" creationId="{4E1A0C19-0CF0-411C-BDB0-82C1A9D22782}"/>
          </ac:picMkLst>
        </pc:picChg>
        <pc:picChg chg="add del">
          <ac:chgData name="Thotakura, Ashok" userId="8def16fa-05a4-42f6-9097-35114c55c601" providerId="ADAL" clId="{A31C1501-9031-4446-AA58-80822123E173}" dt="2021-02-22T07:11:03.621" v="941" actId="478"/>
          <ac:picMkLst>
            <pc:docMk/>
            <pc:sldMk cId="1231956484" sldId="639"/>
            <ac:picMk id="4" creationId="{753610CA-9D06-4C0F-92B9-CBB4735F649D}"/>
          </ac:picMkLst>
        </pc:picChg>
        <pc:picChg chg="del">
          <ac:chgData name="Thotakura, Ashok" userId="8def16fa-05a4-42f6-9097-35114c55c601" providerId="ADAL" clId="{A31C1501-9031-4446-AA58-80822123E173}" dt="2021-02-16T16:44:08.509" v="905" actId="478"/>
          <ac:picMkLst>
            <pc:docMk/>
            <pc:sldMk cId="1231956484" sldId="639"/>
            <ac:picMk id="11" creationId="{4B181E07-02D1-4325-AE43-E2112CD48319}"/>
          </ac:picMkLst>
        </pc:picChg>
        <pc:picChg chg="add del">
          <ac:chgData name="Thotakura, Ashok" userId="8def16fa-05a4-42f6-9097-35114c55c601" providerId="ADAL" clId="{A31C1501-9031-4446-AA58-80822123E173}" dt="2021-02-22T07:23:06.883" v="1059" actId="478"/>
          <ac:picMkLst>
            <pc:docMk/>
            <pc:sldMk cId="1231956484" sldId="639"/>
            <ac:picMk id="18" creationId="{869D3A0D-059C-4E15-9C56-F2E66DD7A29E}"/>
          </ac:picMkLst>
        </pc:picChg>
        <pc:picChg chg="add del">
          <ac:chgData name="Thotakura, Ashok" userId="8def16fa-05a4-42f6-9097-35114c55c601" providerId="ADAL" clId="{A31C1501-9031-4446-AA58-80822123E173}" dt="2021-02-22T11:13:37.794" v="1070" actId="478"/>
          <ac:picMkLst>
            <pc:docMk/>
            <pc:sldMk cId="1231956484" sldId="639"/>
            <ac:picMk id="24" creationId="{51F8C822-E099-43F3-8107-1B2F2DBAAF41}"/>
          </ac:picMkLst>
        </pc:picChg>
        <pc:inkChg chg="add">
          <ac:chgData name="Thotakura, Ashok" userId="8def16fa-05a4-42f6-9097-35114c55c601" providerId="ADAL" clId="{A31C1501-9031-4446-AA58-80822123E173}" dt="2021-02-22T10:09:51.742" v="1061" actId="9405"/>
          <ac:inkMkLst>
            <pc:docMk/>
            <pc:sldMk cId="1231956484" sldId="639"/>
            <ac:inkMk id="2" creationId="{6A4647A8-02ED-4220-A1CA-6DB9F354BBF3}"/>
          </ac:inkMkLst>
        </pc:inkChg>
        <pc:inkChg chg="add del">
          <ac:chgData name="Thotakura, Ashok" userId="8def16fa-05a4-42f6-9097-35114c55c601" providerId="ADAL" clId="{A31C1501-9031-4446-AA58-80822123E173}" dt="2021-02-22T10:09:59.139" v="1063" actId="9405"/>
          <ac:inkMkLst>
            <pc:docMk/>
            <pc:sldMk cId="1231956484" sldId="639"/>
            <ac:inkMk id="3" creationId="{3840A780-EE0B-4035-B87E-B546A9618B6D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3" creationId="{3B03581B-8CC6-46AF-8E20-09439F151FCC}"/>
          </ac:inkMkLst>
        </pc:inkChg>
        <pc:inkChg chg="add">
          <ac:chgData name="Thotakura, Ashok" userId="8def16fa-05a4-42f6-9097-35114c55c601" providerId="ADAL" clId="{A31C1501-9031-4446-AA58-80822123E173}" dt="2021-02-22T11:15:20.633" v="1086" actId="9405"/>
          <ac:inkMkLst>
            <pc:docMk/>
            <pc:sldMk cId="1231956484" sldId="639"/>
            <ac:inkMk id="4" creationId="{BC751094-EA6E-4635-A424-F60DA858087A}"/>
          </ac:inkMkLst>
        </pc:inkChg>
        <pc:inkChg chg="add del">
          <ac:chgData name="Thotakura, Ashok" userId="8def16fa-05a4-42f6-9097-35114c55c601" providerId="ADAL" clId="{A31C1501-9031-4446-AA58-80822123E173}" dt="2021-02-22T10:10:04.862" v="1065" actId="9405"/>
          <ac:inkMkLst>
            <pc:docMk/>
            <pc:sldMk cId="1231956484" sldId="639"/>
            <ac:inkMk id="4" creationId="{CD4E17B3-1BB2-4F0E-81AA-DFF083999674}"/>
          </ac:inkMkLst>
        </pc:inkChg>
        <pc:inkChg chg="add del">
          <ac:chgData name="Thotakura, Ashok" userId="8def16fa-05a4-42f6-9097-35114c55c601" providerId="ADAL" clId="{A31C1501-9031-4446-AA58-80822123E173}" dt="2021-02-22T10:58:05.786" v="1069" actId="9405"/>
          <ac:inkMkLst>
            <pc:docMk/>
            <pc:sldMk cId="1231956484" sldId="639"/>
            <ac:inkMk id="5" creationId="{3FCD6A14-75B1-42EC-9CC6-6542A23F8DEB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5" creationId="{928F9353-78A0-462E-9916-45C5234D0C2A}"/>
          </ac:inkMkLst>
        </pc:inkChg>
        <pc:inkChg chg="add del">
          <ac:chgData name="Thotakura, Ashok" userId="8def16fa-05a4-42f6-9097-35114c55c601" providerId="ADAL" clId="{A31C1501-9031-4446-AA58-80822123E173}" dt="2021-02-22T11:16:04.610" v="1088"/>
          <ac:inkMkLst>
            <pc:docMk/>
            <pc:sldMk cId="1231956484" sldId="639"/>
            <ac:inkMk id="5" creationId="{E6FD6AC3-B452-4CC4-939A-A1A0D2C10C54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6" creationId="{990C79D4-5D20-4F01-9CB4-8EBCADC16FF7}"/>
          </ac:inkMkLst>
        </pc:inkChg>
        <pc:inkChg chg="add">
          <ac:chgData name="Thotakura, Ashok" userId="8def16fa-05a4-42f6-9097-35114c55c601" providerId="ADAL" clId="{A31C1501-9031-4446-AA58-80822123E173}" dt="2021-02-22T11:16:04.610" v="1088"/>
          <ac:inkMkLst>
            <pc:docMk/>
            <pc:sldMk cId="1231956484" sldId="639"/>
            <ac:inkMk id="6" creationId="{E9AA63C2-EB98-4EEE-B7E8-9414918907F1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7" creationId="{862C2859-88F9-4EB2-A3BD-398452E3731E}"/>
          </ac:inkMkLst>
        </pc:inkChg>
        <pc:inkChg chg="add del">
          <ac:chgData name="Thotakura, Ashok" userId="8def16fa-05a4-42f6-9097-35114c55c601" providerId="ADAL" clId="{A31C1501-9031-4446-AA58-80822123E173}" dt="2021-02-22T11:16:27.326" v="1092"/>
          <ac:inkMkLst>
            <pc:docMk/>
            <pc:sldMk cId="1231956484" sldId="639"/>
            <ac:inkMk id="7" creationId="{AC9D18D3-C20C-422A-B232-70F507F40EA5}"/>
          </ac:inkMkLst>
        </pc:inkChg>
        <pc:inkChg chg="add del">
          <ac:chgData name="Thotakura, Ashok" userId="8def16fa-05a4-42f6-9097-35114c55c601" providerId="ADAL" clId="{A31C1501-9031-4446-AA58-80822123E173}" dt="2021-02-22T11:16:17.505" v="1090"/>
          <ac:inkMkLst>
            <pc:docMk/>
            <pc:sldMk cId="1231956484" sldId="639"/>
            <ac:inkMk id="8" creationId="{29B86679-B7AB-42B3-8059-062D0DE9A402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8" creationId="{F76E7404-F8C4-4939-9577-446DC327C226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9" creationId="{40AADD66-6168-4CF9-815C-8E113C23D71B}"/>
          </ac:inkMkLst>
        </pc:inkChg>
        <pc:inkChg chg="add del">
          <ac:chgData name="Thotakura, Ashok" userId="8def16fa-05a4-42f6-9097-35114c55c601" providerId="ADAL" clId="{A31C1501-9031-4446-AA58-80822123E173}" dt="2021-02-22T11:16:17.505" v="1090"/>
          <ac:inkMkLst>
            <pc:docMk/>
            <pc:sldMk cId="1231956484" sldId="639"/>
            <ac:inkMk id="9" creationId="{9925994B-638D-46A7-B996-1B678C379DCA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10" creationId="{A132334A-FCDA-477C-89CD-7F784525A041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12" creationId="{7102098A-FE01-4C65-A6B8-FDCF9A4DA0F7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13" creationId="{31DD8756-F19C-4119-B4A7-4B315A2F28FC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14" creationId="{6227EE8E-760C-4337-BF00-12593B75FC3E}"/>
          </ac:inkMkLst>
        </pc:inkChg>
        <pc:inkChg chg="add del">
          <ac:chgData name="Thotakura, Ashok" userId="8def16fa-05a4-42f6-9097-35114c55c601" providerId="ADAL" clId="{A31C1501-9031-4446-AA58-80822123E173}" dt="2021-02-22T07:11:03.621" v="941" actId="478"/>
          <ac:inkMkLst>
            <pc:docMk/>
            <pc:sldMk cId="1231956484" sldId="639"/>
            <ac:inkMk id="15" creationId="{22D44C87-CEE4-4D58-9EB5-70439902981B}"/>
          </ac:inkMkLst>
        </pc:inkChg>
        <pc:inkChg chg="add del">
          <ac:chgData name="Thotakura, Ashok" userId="8def16fa-05a4-42f6-9097-35114c55c601" providerId="ADAL" clId="{A31C1501-9031-4446-AA58-80822123E173}" dt="2021-02-22T07:23:06.883" v="1059" actId="478"/>
          <ac:inkMkLst>
            <pc:docMk/>
            <pc:sldMk cId="1231956484" sldId="639"/>
            <ac:inkMk id="19" creationId="{428E1A23-46F2-4778-8F0F-AAC0ABF7689C}"/>
          </ac:inkMkLst>
        </pc:inkChg>
        <pc:inkChg chg="add del">
          <ac:chgData name="Thotakura, Ashok" userId="8def16fa-05a4-42f6-9097-35114c55c601" providerId="ADAL" clId="{A31C1501-9031-4446-AA58-80822123E173}" dt="2021-02-22T07:23:06.883" v="1059" actId="478"/>
          <ac:inkMkLst>
            <pc:docMk/>
            <pc:sldMk cId="1231956484" sldId="639"/>
            <ac:inkMk id="20" creationId="{2115284B-6014-483D-A4F3-084FC48F55FA}"/>
          </ac:inkMkLst>
        </pc:inkChg>
        <pc:inkChg chg="add del">
          <ac:chgData name="Thotakura, Ashok" userId="8def16fa-05a4-42f6-9097-35114c55c601" providerId="ADAL" clId="{A31C1501-9031-4446-AA58-80822123E173}" dt="2021-02-22T07:23:06.883" v="1059" actId="478"/>
          <ac:inkMkLst>
            <pc:docMk/>
            <pc:sldMk cId="1231956484" sldId="639"/>
            <ac:inkMk id="21" creationId="{461082A8-103C-4ECD-9C75-9F3803D70EED}"/>
          </ac:inkMkLst>
        </pc:inkChg>
        <pc:inkChg chg="add del">
          <ac:chgData name="Thotakura, Ashok" userId="8def16fa-05a4-42f6-9097-35114c55c601" providerId="ADAL" clId="{A31C1501-9031-4446-AA58-80822123E173}" dt="2021-02-22T07:23:06.883" v="1059" actId="478"/>
          <ac:inkMkLst>
            <pc:docMk/>
            <pc:sldMk cId="1231956484" sldId="639"/>
            <ac:inkMk id="22" creationId="{40507FD5-60C7-470D-B783-6089F230915E}"/>
          </ac:inkMkLst>
        </pc:inkChg>
        <pc:inkChg chg="add del">
          <ac:chgData name="Thotakura, Ashok" userId="8def16fa-05a4-42f6-9097-35114c55c601" providerId="ADAL" clId="{A31C1501-9031-4446-AA58-80822123E173}" dt="2021-02-22T07:23:06.883" v="1059" actId="478"/>
          <ac:inkMkLst>
            <pc:docMk/>
            <pc:sldMk cId="1231956484" sldId="639"/>
            <ac:inkMk id="23" creationId="{C014E0D7-3CA4-4B5B-892D-EBF9DCC28FC0}"/>
          </ac:inkMkLst>
        </pc:inkChg>
        <pc:inkChg chg="add del">
          <ac:chgData name="Thotakura, Ashok" userId="8def16fa-05a4-42f6-9097-35114c55c601" providerId="ADAL" clId="{A31C1501-9031-4446-AA58-80822123E173}" dt="2021-02-22T11:13:52.887" v="1075" actId="478"/>
          <ac:inkMkLst>
            <pc:docMk/>
            <pc:sldMk cId="1231956484" sldId="639"/>
            <ac:inkMk id="26" creationId="{0A0B15DD-D9DF-432C-8CB9-264FFD8DB7B3}"/>
          </ac:inkMkLst>
        </pc:inkChg>
        <pc:inkChg chg="add del">
          <ac:chgData name="Thotakura, Ashok" userId="8def16fa-05a4-42f6-9097-35114c55c601" providerId="ADAL" clId="{A31C1501-9031-4446-AA58-80822123E173}" dt="2021-02-22T11:13:46.728" v="1073" actId="478"/>
          <ac:inkMkLst>
            <pc:docMk/>
            <pc:sldMk cId="1231956484" sldId="639"/>
            <ac:inkMk id="27" creationId="{EC2C92A1-56F4-429E-BBA3-C0349961AA57}"/>
          </ac:inkMkLst>
        </pc:inkChg>
        <pc:inkChg chg="add del">
          <ac:chgData name="Thotakura, Ashok" userId="8def16fa-05a4-42f6-9097-35114c55c601" providerId="ADAL" clId="{A31C1501-9031-4446-AA58-80822123E173}" dt="2021-02-22T11:13:49.183" v="1074" actId="478"/>
          <ac:inkMkLst>
            <pc:docMk/>
            <pc:sldMk cId="1231956484" sldId="639"/>
            <ac:inkMk id="28" creationId="{610EAD53-5D1F-44F9-BB12-F0E0807BB508}"/>
          </ac:inkMkLst>
        </pc:inkChg>
        <pc:inkChg chg="add">
          <ac:chgData name="Thotakura, Ashok" userId="8def16fa-05a4-42f6-9097-35114c55c601" providerId="ADAL" clId="{A31C1501-9031-4446-AA58-80822123E173}" dt="2021-02-22T07:23:14.064" v="1060"/>
          <ac:inkMkLst>
            <pc:docMk/>
            <pc:sldMk cId="1231956484" sldId="639"/>
            <ac:inkMk id="29" creationId="{2F253A94-F38F-4F94-94F0-B90A60F40214}"/>
          </ac:inkMkLst>
        </pc:inkChg>
        <pc:inkChg chg="add">
          <ac:chgData name="Thotakura, Ashok" userId="8def16fa-05a4-42f6-9097-35114c55c601" providerId="ADAL" clId="{A31C1501-9031-4446-AA58-80822123E173}" dt="2021-02-22T07:23:14.064" v="1060"/>
          <ac:inkMkLst>
            <pc:docMk/>
            <pc:sldMk cId="1231956484" sldId="639"/>
            <ac:inkMk id="30" creationId="{EB5966B8-7774-48ED-954D-61089F69EBB4}"/>
          </ac:inkMkLst>
        </pc:inkChg>
      </pc:sldChg>
      <pc:sldChg chg="addSp delSp modSp">
        <pc:chgData name="Thotakura, Ashok" userId="8def16fa-05a4-42f6-9097-35114c55c601" providerId="ADAL" clId="{A31C1501-9031-4446-AA58-80822123E173}" dt="2021-02-22T07:20:33.930" v="1058"/>
        <pc:sldMkLst>
          <pc:docMk/>
          <pc:sldMk cId="311541567" sldId="640"/>
        </pc:sldMkLst>
        <pc:spChg chg="del">
          <ac:chgData name="Thotakura, Ashok" userId="8def16fa-05a4-42f6-9097-35114c55c601" providerId="ADAL" clId="{A31C1501-9031-4446-AA58-80822123E173}" dt="2021-02-22T07:20:26.525" v="1053" actId="478"/>
          <ac:spMkLst>
            <pc:docMk/>
            <pc:sldMk cId="311541567" sldId="640"/>
            <ac:spMk id="2" creationId="{00000000-0000-0000-0000-000000000000}"/>
          </ac:spMkLst>
        </pc:spChg>
        <pc:spChg chg="del">
          <ac:chgData name="Thotakura, Ashok" userId="8def16fa-05a4-42f6-9097-35114c55c601" providerId="ADAL" clId="{A31C1501-9031-4446-AA58-80822123E173}" dt="2021-02-22T07:20:26.525" v="1053" actId="478"/>
          <ac:spMkLst>
            <pc:docMk/>
            <pc:sldMk cId="311541567" sldId="640"/>
            <ac:spMk id="4" creationId="{DE8CDE54-88B0-6F47-947F-4B540AB3E9A1}"/>
          </ac:spMkLst>
        </pc:spChg>
        <pc:spChg chg="del">
          <ac:chgData name="Thotakura, Ashok" userId="8def16fa-05a4-42f6-9097-35114c55c601" providerId="ADAL" clId="{A31C1501-9031-4446-AA58-80822123E173}" dt="2021-02-22T07:20:26.525" v="1053" actId="478"/>
          <ac:spMkLst>
            <pc:docMk/>
            <pc:sldMk cId="311541567" sldId="640"/>
            <ac:spMk id="5" creationId="{F4FE4BA0-7EB0-4F94-B2FA-FF85F4124305}"/>
          </ac:spMkLst>
        </pc:spChg>
        <pc:spChg chg="del">
          <ac:chgData name="Thotakura, Ashok" userId="8def16fa-05a4-42f6-9097-35114c55c601" providerId="ADAL" clId="{A31C1501-9031-4446-AA58-80822123E173}" dt="2021-02-22T07:20:26.525" v="1053" actId="478"/>
          <ac:spMkLst>
            <pc:docMk/>
            <pc:sldMk cId="311541567" sldId="640"/>
            <ac:spMk id="6" creationId="{669363A8-CBD2-4CB0-8A20-81B8E3E54CAB}"/>
          </ac:spMkLst>
        </pc:spChg>
        <pc:spChg chg="add del mod">
          <ac:chgData name="Thotakura, Ashok" userId="8def16fa-05a4-42f6-9097-35114c55c601" providerId="ADAL" clId="{A31C1501-9031-4446-AA58-80822123E173}" dt="2021-02-22T07:20:32.674" v="1057" actId="478"/>
          <ac:spMkLst>
            <pc:docMk/>
            <pc:sldMk cId="311541567" sldId="640"/>
            <ac:spMk id="8" creationId="{B468296F-2444-4896-8B5F-D5C1F031AF7C}"/>
          </ac:spMkLst>
        </pc:spChg>
        <pc:spChg chg="add del mod">
          <ac:chgData name="Thotakura, Ashok" userId="8def16fa-05a4-42f6-9097-35114c55c601" providerId="ADAL" clId="{A31C1501-9031-4446-AA58-80822123E173}" dt="2021-02-22T07:20:30.898" v="1056" actId="478"/>
          <ac:spMkLst>
            <pc:docMk/>
            <pc:sldMk cId="311541567" sldId="640"/>
            <ac:spMk id="10" creationId="{0B047D4E-F759-445B-9FE9-70526F529F43}"/>
          </ac:spMkLst>
        </pc:spChg>
        <pc:spChg chg="add del">
          <ac:chgData name="Thotakura, Ashok" userId="8def16fa-05a4-42f6-9097-35114c55c601" providerId="ADAL" clId="{A31C1501-9031-4446-AA58-80822123E173}" dt="2021-02-22T07:20:28.975" v="1055"/>
          <ac:spMkLst>
            <pc:docMk/>
            <pc:sldMk cId="311541567" sldId="640"/>
            <ac:spMk id="11" creationId="{BC704722-F8C3-4291-A79B-F71B4BAA50F8}"/>
          </ac:spMkLst>
        </pc:spChg>
        <pc:spChg chg="add del">
          <ac:chgData name="Thotakura, Ashok" userId="8def16fa-05a4-42f6-9097-35114c55c601" providerId="ADAL" clId="{A31C1501-9031-4446-AA58-80822123E173}" dt="2021-02-22T07:20:28.975" v="1055"/>
          <ac:spMkLst>
            <pc:docMk/>
            <pc:sldMk cId="311541567" sldId="640"/>
            <ac:spMk id="12" creationId="{AFBD9B90-BFAF-4A76-9C38-CB37A57C5E16}"/>
          </ac:spMkLst>
        </pc:spChg>
        <pc:spChg chg="add del">
          <ac:chgData name="Thotakura, Ashok" userId="8def16fa-05a4-42f6-9097-35114c55c601" providerId="ADAL" clId="{A31C1501-9031-4446-AA58-80822123E173}" dt="2021-02-22T07:20:28.975" v="1055"/>
          <ac:spMkLst>
            <pc:docMk/>
            <pc:sldMk cId="311541567" sldId="640"/>
            <ac:spMk id="13" creationId="{7533B148-F1FF-477B-80EA-6287677EDF9B}"/>
          </ac:spMkLst>
        </pc:spChg>
        <pc:spChg chg="add del">
          <ac:chgData name="Thotakura, Ashok" userId="8def16fa-05a4-42f6-9097-35114c55c601" providerId="ADAL" clId="{A31C1501-9031-4446-AA58-80822123E173}" dt="2021-02-22T07:20:28.975" v="1055"/>
          <ac:spMkLst>
            <pc:docMk/>
            <pc:sldMk cId="311541567" sldId="640"/>
            <ac:spMk id="14" creationId="{ADC93944-8228-4ED5-82D1-548B7A532936}"/>
          </ac:spMkLst>
        </pc:spChg>
        <pc:spChg chg="add">
          <ac:chgData name="Thotakura, Ashok" userId="8def16fa-05a4-42f6-9097-35114c55c601" providerId="ADAL" clId="{A31C1501-9031-4446-AA58-80822123E173}" dt="2021-02-22T07:20:33.930" v="1058"/>
          <ac:spMkLst>
            <pc:docMk/>
            <pc:sldMk cId="311541567" sldId="640"/>
            <ac:spMk id="16" creationId="{9553DDA3-A26C-4341-B840-CF2FB1B3DC6C}"/>
          </ac:spMkLst>
        </pc:spChg>
        <pc:spChg chg="add">
          <ac:chgData name="Thotakura, Ashok" userId="8def16fa-05a4-42f6-9097-35114c55c601" providerId="ADAL" clId="{A31C1501-9031-4446-AA58-80822123E173}" dt="2021-02-22T07:20:33.930" v="1058"/>
          <ac:spMkLst>
            <pc:docMk/>
            <pc:sldMk cId="311541567" sldId="640"/>
            <ac:spMk id="17" creationId="{0715DE92-B065-4958-9C40-7503D7281D51}"/>
          </ac:spMkLst>
        </pc:spChg>
        <pc:spChg chg="add">
          <ac:chgData name="Thotakura, Ashok" userId="8def16fa-05a4-42f6-9097-35114c55c601" providerId="ADAL" clId="{A31C1501-9031-4446-AA58-80822123E173}" dt="2021-02-22T07:20:33.930" v="1058"/>
          <ac:spMkLst>
            <pc:docMk/>
            <pc:sldMk cId="311541567" sldId="640"/>
            <ac:spMk id="18" creationId="{206280AC-07FC-4D95-9FC0-1C7D108CE458}"/>
          </ac:spMkLst>
        </pc:spChg>
        <pc:spChg chg="add">
          <ac:chgData name="Thotakura, Ashok" userId="8def16fa-05a4-42f6-9097-35114c55c601" providerId="ADAL" clId="{A31C1501-9031-4446-AA58-80822123E173}" dt="2021-02-22T07:20:33.930" v="1058"/>
          <ac:spMkLst>
            <pc:docMk/>
            <pc:sldMk cId="311541567" sldId="640"/>
            <ac:spMk id="19" creationId="{2C7F7B4E-56C2-44DC-ADD8-C0217BF67AF9}"/>
          </ac:spMkLst>
        </pc:spChg>
        <pc:graphicFrameChg chg="del">
          <ac:chgData name="Thotakura, Ashok" userId="8def16fa-05a4-42f6-9097-35114c55c601" providerId="ADAL" clId="{A31C1501-9031-4446-AA58-80822123E173}" dt="2021-02-22T07:20:26.525" v="1053" actId="478"/>
          <ac:graphicFrameMkLst>
            <pc:docMk/>
            <pc:sldMk cId="311541567" sldId="640"/>
            <ac:graphicFrameMk id="7" creationId="{6052BDAF-1585-4879-97B6-A2625EBC77BC}"/>
          </ac:graphicFrameMkLst>
        </pc:graphicFrameChg>
        <pc:graphicFrameChg chg="add del">
          <ac:chgData name="Thotakura, Ashok" userId="8def16fa-05a4-42f6-9097-35114c55c601" providerId="ADAL" clId="{A31C1501-9031-4446-AA58-80822123E173}" dt="2021-02-22T07:20:28.975" v="1055"/>
          <ac:graphicFrameMkLst>
            <pc:docMk/>
            <pc:sldMk cId="311541567" sldId="640"/>
            <ac:graphicFrameMk id="15" creationId="{0DFAE894-724A-47A3-A576-4D4022BDBDFA}"/>
          </ac:graphicFrameMkLst>
        </pc:graphicFrameChg>
        <pc:graphicFrameChg chg="add">
          <ac:chgData name="Thotakura, Ashok" userId="8def16fa-05a4-42f6-9097-35114c55c601" providerId="ADAL" clId="{A31C1501-9031-4446-AA58-80822123E173}" dt="2021-02-22T07:20:33.930" v="1058"/>
          <ac:graphicFrameMkLst>
            <pc:docMk/>
            <pc:sldMk cId="311541567" sldId="640"/>
            <ac:graphicFrameMk id="20" creationId="{DAC1A565-6DC7-43AE-AE37-0A7C6776207C}"/>
          </ac:graphicFrameMkLst>
        </pc:graphicFrameChg>
      </pc:sldChg>
      <pc:sldChg chg="modSp">
        <pc:chgData name="Thotakura, Ashok" userId="8def16fa-05a4-42f6-9097-35114c55c601" providerId="ADAL" clId="{A31C1501-9031-4446-AA58-80822123E173}" dt="2021-02-16T14:36:29.010" v="135" actId="108"/>
        <pc:sldMkLst>
          <pc:docMk/>
          <pc:sldMk cId="1207151774" sldId="641"/>
        </pc:sldMkLst>
        <pc:graphicFrameChg chg="mod modGraphic">
          <ac:chgData name="Thotakura, Ashok" userId="8def16fa-05a4-42f6-9097-35114c55c601" providerId="ADAL" clId="{A31C1501-9031-4446-AA58-80822123E173}" dt="2021-02-16T14:36:29.010" v="135" actId="108"/>
          <ac:graphicFrameMkLst>
            <pc:docMk/>
            <pc:sldMk cId="1207151774" sldId="641"/>
            <ac:graphicFrameMk id="2" creationId="{EFE52470-BA62-49BF-A431-55C6BEED9B88}"/>
          </ac:graphicFrameMkLst>
        </pc:graphicFrameChg>
        <pc:graphicFrameChg chg="mod modGraphic">
          <ac:chgData name="Thotakura, Ashok" userId="8def16fa-05a4-42f6-9097-35114c55c601" providerId="ADAL" clId="{A31C1501-9031-4446-AA58-80822123E173}" dt="2021-02-16T14:35:58.181" v="97" actId="20577"/>
          <ac:graphicFrameMkLst>
            <pc:docMk/>
            <pc:sldMk cId="1207151774" sldId="641"/>
            <ac:graphicFrameMk id="8" creationId="{00000000-0000-0000-0000-000000000000}"/>
          </ac:graphicFrameMkLst>
        </pc:graphicFrameChg>
      </pc:sldChg>
      <pc:sldChg chg="addSp delSp modSp">
        <pc:chgData name="Thotakura, Ashok" userId="8def16fa-05a4-42f6-9097-35114c55c601" providerId="ADAL" clId="{A31C1501-9031-4446-AA58-80822123E173}" dt="2021-02-22T07:13:39.438" v="1046" actId="1037"/>
        <pc:sldMkLst>
          <pc:docMk/>
          <pc:sldMk cId="4286428914" sldId="643"/>
        </pc:sldMkLst>
        <pc:picChg chg="del mod">
          <ac:chgData name="Thotakura, Ashok" userId="8def16fa-05a4-42f6-9097-35114c55c601" providerId="ADAL" clId="{A31C1501-9031-4446-AA58-80822123E173}" dt="2021-02-22T07:12:32.137" v="944" actId="478"/>
          <ac:picMkLst>
            <pc:docMk/>
            <pc:sldMk cId="4286428914" sldId="643"/>
            <ac:picMk id="3" creationId="{635D6FED-D508-426B-A788-130CD139B726}"/>
          </ac:picMkLst>
        </pc:picChg>
        <pc:picChg chg="add del">
          <ac:chgData name="Thotakura, Ashok" userId="8def16fa-05a4-42f6-9097-35114c55c601" providerId="ADAL" clId="{A31C1501-9031-4446-AA58-80822123E173}" dt="2021-02-22T07:13:06.547" v="946" actId="478"/>
          <ac:picMkLst>
            <pc:docMk/>
            <pc:sldMk cId="4286428914" sldId="643"/>
            <ac:picMk id="6" creationId="{12380FBC-8EED-4D33-8576-6E9C2EE46DB6}"/>
          </ac:picMkLst>
        </pc:picChg>
        <pc:picChg chg="add mod ord">
          <ac:chgData name="Thotakura, Ashok" userId="8def16fa-05a4-42f6-9097-35114c55c601" providerId="ADAL" clId="{A31C1501-9031-4446-AA58-80822123E173}" dt="2021-02-22T07:13:18.924" v="950" actId="1076"/>
          <ac:picMkLst>
            <pc:docMk/>
            <pc:sldMk cId="4286428914" sldId="643"/>
            <ac:picMk id="7" creationId="{A2D1AB47-814A-4CAC-98B1-39319B479C2C}"/>
          </ac:picMkLst>
        </pc:picChg>
        <pc:inkChg chg="add mod">
          <ac:chgData name="Thotakura, Ashok" userId="8def16fa-05a4-42f6-9097-35114c55c601" providerId="ADAL" clId="{A31C1501-9031-4446-AA58-80822123E173}" dt="2021-02-22T07:13:28.770" v="983" actId="1037"/>
          <ac:inkMkLst>
            <pc:docMk/>
            <pc:sldMk cId="4286428914" sldId="643"/>
            <ac:inkMk id="4" creationId="{42755654-87D6-4B2E-9782-9D0CCC57CE9E}"/>
          </ac:inkMkLst>
        </pc:inkChg>
        <pc:inkChg chg="add mod">
          <ac:chgData name="Thotakura, Ashok" userId="8def16fa-05a4-42f6-9097-35114c55c601" providerId="ADAL" clId="{A31C1501-9031-4446-AA58-80822123E173}" dt="2021-02-22T07:13:39.438" v="1046" actId="1037"/>
          <ac:inkMkLst>
            <pc:docMk/>
            <pc:sldMk cId="4286428914" sldId="643"/>
            <ac:inkMk id="5" creationId="{F12A2533-7F64-4C57-9BD4-0BFBF8A537B3}"/>
          </ac:inkMkLst>
        </pc:inkChg>
      </pc:sldChg>
      <pc:sldChg chg="modSp add">
        <pc:chgData name="Thotakura, Ashok" userId="8def16fa-05a4-42f6-9097-35114c55c601" providerId="ADAL" clId="{A31C1501-9031-4446-AA58-80822123E173}" dt="2021-02-16T15:37:12.668" v="806" actId="20577"/>
        <pc:sldMkLst>
          <pc:docMk/>
          <pc:sldMk cId="3783079273" sldId="650"/>
        </pc:sldMkLst>
        <pc:spChg chg="mod">
          <ac:chgData name="Thotakura, Ashok" userId="8def16fa-05a4-42f6-9097-35114c55c601" providerId="ADAL" clId="{A31C1501-9031-4446-AA58-80822123E173}" dt="2021-02-16T15:37:12.668" v="806" actId="20577"/>
          <ac:spMkLst>
            <pc:docMk/>
            <pc:sldMk cId="3783079273" sldId="650"/>
            <ac:spMk id="2" creationId="{00000000-0000-0000-0000-000000000000}"/>
          </ac:spMkLst>
        </pc:spChg>
      </pc:sldChg>
      <pc:sldChg chg="modSp add">
        <pc:chgData name="Thotakura, Ashok" userId="8def16fa-05a4-42f6-9097-35114c55c601" providerId="ADAL" clId="{A31C1501-9031-4446-AA58-80822123E173}" dt="2021-02-16T15:06:10.619" v="176" actId="1076"/>
        <pc:sldMkLst>
          <pc:docMk/>
          <pc:sldMk cId="2710755517" sldId="652"/>
        </pc:sldMkLst>
        <pc:spChg chg="mod">
          <ac:chgData name="Thotakura, Ashok" userId="8def16fa-05a4-42f6-9097-35114c55c601" providerId="ADAL" clId="{A31C1501-9031-4446-AA58-80822123E173}" dt="2021-02-16T15:06:10.619" v="176" actId="1076"/>
          <ac:spMkLst>
            <pc:docMk/>
            <pc:sldMk cId="2710755517" sldId="652"/>
            <ac:spMk id="3" creationId="{1CB90A47-E22D-3A43-948A-28618787220D}"/>
          </ac:spMkLst>
        </pc:spChg>
        <pc:spChg chg="mod">
          <ac:chgData name="Thotakura, Ashok" userId="8def16fa-05a4-42f6-9097-35114c55c601" providerId="ADAL" clId="{A31C1501-9031-4446-AA58-80822123E173}" dt="2021-02-16T14:42:47.648" v="171" actId="6549"/>
          <ac:spMkLst>
            <pc:docMk/>
            <pc:sldMk cId="2710755517" sldId="652"/>
            <ac:spMk id="15" creationId="{074C2DA8-19CE-D045-9434-5C5AB311BB25}"/>
          </ac:spMkLst>
        </pc:spChg>
      </pc:sldChg>
      <pc:sldChg chg="addSp delSp modSp add">
        <pc:chgData name="Thotakura, Ashok" userId="8def16fa-05a4-42f6-9097-35114c55c601" providerId="ADAL" clId="{A31C1501-9031-4446-AA58-80822123E173}" dt="2021-03-12T10:22:32.234" v="1093" actId="1076"/>
        <pc:sldMkLst>
          <pc:docMk/>
          <pc:sldMk cId="4267676092" sldId="653"/>
        </pc:sldMkLst>
        <pc:spChg chg="mod">
          <ac:chgData name="Thotakura, Ashok" userId="8def16fa-05a4-42f6-9097-35114c55c601" providerId="ADAL" clId="{A31C1501-9031-4446-AA58-80822123E173}" dt="2021-02-16T15:16:15.526" v="575" actId="14100"/>
          <ac:spMkLst>
            <pc:docMk/>
            <pc:sldMk cId="4267676092" sldId="653"/>
            <ac:spMk id="13" creationId="{DC998C0D-D063-47CC-AAE2-B51820FAD883}"/>
          </ac:spMkLst>
        </pc:spChg>
        <pc:spChg chg="mod">
          <ac:chgData name="Thotakura, Ashok" userId="8def16fa-05a4-42f6-9097-35114c55c601" providerId="ADAL" clId="{A31C1501-9031-4446-AA58-80822123E173}" dt="2021-02-16T14:44:01.776" v="173" actId="20577"/>
          <ac:spMkLst>
            <pc:docMk/>
            <pc:sldMk cId="4267676092" sldId="653"/>
            <ac:spMk id="17" creationId="{B56D3D8D-66E2-403F-9DF7-B7E25E6EFCDA}"/>
          </ac:spMkLst>
        </pc:spChg>
        <pc:picChg chg="add">
          <ac:chgData name="Thotakura, Ashok" userId="8def16fa-05a4-42f6-9097-35114c55c601" providerId="ADAL" clId="{A31C1501-9031-4446-AA58-80822123E173}" dt="2021-02-22T06:39:44.611" v="937"/>
          <ac:picMkLst>
            <pc:docMk/>
            <pc:sldMk cId="4267676092" sldId="653"/>
            <ac:picMk id="3" creationId="{F5718515-462C-4B0F-B72C-B1CFAEB44762}"/>
          </ac:picMkLst>
        </pc:picChg>
        <pc:picChg chg="del mod">
          <ac:chgData name="Thotakura, Ashok" userId="8def16fa-05a4-42f6-9097-35114c55c601" providerId="ADAL" clId="{A31C1501-9031-4446-AA58-80822123E173}" dt="2021-02-22T06:39:43.337" v="936" actId="478"/>
          <ac:picMkLst>
            <pc:docMk/>
            <pc:sldMk cId="4267676092" sldId="653"/>
            <ac:picMk id="5" creationId="{902798F0-44FE-420C-8B62-11AB0C26BB53}"/>
          </ac:picMkLst>
        </pc:picChg>
        <pc:picChg chg="mod">
          <ac:chgData name="Thotakura, Ashok" userId="8def16fa-05a4-42f6-9097-35114c55c601" providerId="ADAL" clId="{A31C1501-9031-4446-AA58-80822123E173}" dt="2021-03-12T10:22:32.234" v="1093" actId="1076"/>
          <ac:picMkLst>
            <pc:docMk/>
            <pc:sldMk cId="4267676092" sldId="653"/>
            <ac:picMk id="6" creationId="{CD7D3321-AC60-4C97-8299-CE77A40BC32F}"/>
          </ac:picMkLst>
        </pc:picChg>
      </pc:sldChg>
      <pc:sldChg chg="addSp delSp modSp add">
        <pc:chgData name="Thotakura, Ashok" userId="8def16fa-05a4-42f6-9097-35114c55c601" providerId="ADAL" clId="{A31C1501-9031-4446-AA58-80822123E173}" dt="2021-02-16T16:46:29.018" v="929" actId="9405"/>
        <pc:sldMkLst>
          <pc:docMk/>
          <pc:sldMk cId="1369925577" sldId="654"/>
        </pc:sldMkLst>
        <pc:spChg chg="mod">
          <ac:chgData name="Thotakura, Ashok" userId="8def16fa-05a4-42f6-9097-35114c55c601" providerId="ADAL" clId="{A31C1501-9031-4446-AA58-80822123E173}" dt="2021-02-16T15:59:46.050" v="854" actId="20577"/>
          <ac:spMkLst>
            <pc:docMk/>
            <pc:sldMk cId="1369925577" sldId="654"/>
            <ac:spMk id="2" creationId="{00000000-0000-0000-0000-000000000000}"/>
          </ac:spMkLst>
        </pc:spChg>
        <pc:picChg chg="add mod">
          <ac:chgData name="Thotakura, Ashok" userId="8def16fa-05a4-42f6-9097-35114c55c601" providerId="ADAL" clId="{A31C1501-9031-4446-AA58-80822123E173}" dt="2021-02-16T15:59:35.262" v="843" actId="1076"/>
          <ac:picMkLst>
            <pc:docMk/>
            <pc:sldMk cId="1369925577" sldId="654"/>
            <ac:picMk id="3" creationId="{774CCE6B-9817-4740-A5D4-3B3362DCC798}"/>
          </ac:picMkLst>
        </pc:picChg>
        <pc:picChg chg="del">
          <ac:chgData name="Thotakura, Ashok" userId="8def16fa-05a4-42f6-9097-35114c55c601" providerId="ADAL" clId="{A31C1501-9031-4446-AA58-80822123E173}" dt="2021-02-16T15:59:27.533" v="839" actId="478"/>
          <ac:picMkLst>
            <pc:docMk/>
            <pc:sldMk cId="1369925577" sldId="654"/>
            <ac:picMk id="8" creationId="{DF757A7C-A4F6-4A95-BE59-98EDE9080E35}"/>
          </ac:picMkLst>
        </pc:picChg>
        <pc:inkChg chg="add del">
          <ac:chgData name="Thotakura, Ashok" userId="8def16fa-05a4-42f6-9097-35114c55c601" providerId="ADAL" clId="{A31C1501-9031-4446-AA58-80822123E173}" dt="2021-02-16T16:46:29.018" v="929" actId="9405"/>
          <ac:inkMkLst>
            <pc:docMk/>
            <pc:sldMk cId="1369925577" sldId="654"/>
            <ac:inkMk id="4" creationId="{0DFCC269-3E23-4BE9-86DA-DDD81C39B723}"/>
          </ac:inkMkLst>
        </pc:inkChg>
        <pc:inkChg chg="add del">
          <ac:chgData name="Thotakura, Ashok" userId="8def16fa-05a4-42f6-9097-35114c55c601" providerId="ADAL" clId="{A31C1501-9031-4446-AA58-80822123E173}" dt="2021-02-16T16:46:26.348" v="928" actId="9405"/>
          <ac:inkMkLst>
            <pc:docMk/>
            <pc:sldMk cId="1369925577" sldId="654"/>
            <ac:inkMk id="5" creationId="{13E3D796-17DF-4B51-9D38-FF8991E2EB1C}"/>
          </ac:inkMkLst>
        </pc:inkChg>
      </pc:sldChg>
      <pc:sldChg chg="modSp add">
        <pc:chgData name="Thotakura, Ashok" userId="8def16fa-05a4-42f6-9097-35114c55c601" providerId="ADAL" clId="{A31C1501-9031-4446-AA58-80822123E173}" dt="2021-02-16T15:31:34.884" v="649" actId="313"/>
        <pc:sldMkLst>
          <pc:docMk/>
          <pc:sldMk cId="117768655" sldId="655"/>
        </pc:sldMkLst>
        <pc:spChg chg="mod">
          <ac:chgData name="Thotakura, Ashok" userId="8def16fa-05a4-42f6-9097-35114c55c601" providerId="ADAL" clId="{A31C1501-9031-4446-AA58-80822123E173}" dt="2021-02-16T15:31:34.884" v="649" actId="313"/>
          <ac:spMkLst>
            <pc:docMk/>
            <pc:sldMk cId="117768655" sldId="655"/>
            <ac:spMk id="2" creationId="{00000000-0000-0000-0000-000000000000}"/>
          </ac:spMkLst>
        </pc:spChg>
      </pc:sldChg>
      <pc:sldChg chg="addSp delSp modSp add">
        <pc:chgData name="Thotakura, Ashok" userId="8def16fa-05a4-42f6-9097-35114c55c601" providerId="ADAL" clId="{A31C1501-9031-4446-AA58-80822123E173}" dt="2021-02-16T15:33:53.062" v="764" actId="20577"/>
        <pc:sldMkLst>
          <pc:docMk/>
          <pc:sldMk cId="2597640439" sldId="656"/>
        </pc:sldMkLst>
        <pc:spChg chg="mod">
          <ac:chgData name="Thotakura, Ashok" userId="8def16fa-05a4-42f6-9097-35114c55c601" providerId="ADAL" clId="{A31C1501-9031-4446-AA58-80822123E173}" dt="2021-02-16T15:33:53.062" v="764" actId="20577"/>
          <ac:spMkLst>
            <pc:docMk/>
            <pc:sldMk cId="2597640439" sldId="656"/>
            <ac:spMk id="2" creationId="{00000000-0000-0000-0000-000000000000}"/>
          </ac:spMkLst>
        </pc:spChg>
        <pc:picChg chg="add">
          <ac:chgData name="Thotakura, Ashok" userId="8def16fa-05a4-42f6-9097-35114c55c601" providerId="ADAL" clId="{A31C1501-9031-4446-AA58-80822123E173}" dt="2021-02-16T15:32:13.764" v="707"/>
          <ac:picMkLst>
            <pc:docMk/>
            <pc:sldMk cId="2597640439" sldId="656"/>
            <ac:picMk id="4" creationId="{104552CF-9E13-45DE-AD2F-FEF543EEFF57}"/>
          </ac:picMkLst>
        </pc:picChg>
        <pc:picChg chg="del">
          <ac:chgData name="Thotakura, Ashok" userId="8def16fa-05a4-42f6-9097-35114c55c601" providerId="ADAL" clId="{A31C1501-9031-4446-AA58-80822123E173}" dt="2021-02-16T15:32:13.436" v="706" actId="478"/>
          <ac:picMkLst>
            <pc:docMk/>
            <pc:sldMk cId="2597640439" sldId="656"/>
            <ac:picMk id="8" creationId="{DF757A7C-A4F6-4A95-BE59-98EDE9080E35}"/>
          </ac:picMkLst>
        </pc:picChg>
      </pc:sldChg>
      <pc:sldChg chg="addSp delSp modSp add">
        <pc:chgData name="Thotakura, Ashok" userId="8def16fa-05a4-42f6-9097-35114c55c601" providerId="ADAL" clId="{A31C1501-9031-4446-AA58-80822123E173}" dt="2021-02-16T15:44:07.722" v="815"/>
        <pc:sldMkLst>
          <pc:docMk/>
          <pc:sldMk cId="3542795391" sldId="657"/>
        </pc:sldMkLst>
        <pc:spChg chg="mod">
          <ac:chgData name="Thotakura, Ashok" userId="8def16fa-05a4-42f6-9097-35114c55c601" providerId="ADAL" clId="{A31C1501-9031-4446-AA58-80822123E173}" dt="2021-02-16T15:44:07.722" v="815"/>
          <ac:spMkLst>
            <pc:docMk/>
            <pc:sldMk cId="3542795391" sldId="657"/>
            <ac:spMk id="2" creationId="{00000000-0000-0000-0000-000000000000}"/>
          </ac:spMkLst>
        </pc:spChg>
        <pc:picChg chg="add mod">
          <ac:chgData name="Thotakura, Ashok" userId="8def16fa-05a4-42f6-9097-35114c55c601" providerId="ADAL" clId="{A31C1501-9031-4446-AA58-80822123E173}" dt="2021-02-16T15:43:53.040" v="811" actId="1076"/>
          <ac:picMkLst>
            <pc:docMk/>
            <pc:sldMk cId="3542795391" sldId="657"/>
            <ac:picMk id="3" creationId="{5BF05FA0-1744-4B54-B759-D842B9063F21}"/>
          </ac:picMkLst>
        </pc:picChg>
        <pc:picChg chg="del">
          <ac:chgData name="Thotakura, Ashok" userId="8def16fa-05a4-42f6-9097-35114c55c601" providerId="ADAL" clId="{A31C1501-9031-4446-AA58-80822123E173}" dt="2021-02-16T15:43:39.146" v="807" actId="478"/>
          <ac:picMkLst>
            <pc:docMk/>
            <pc:sldMk cId="3542795391" sldId="657"/>
            <ac:picMk id="4" creationId="{104552CF-9E13-45DE-AD2F-FEF543EEFF57}"/>
          </ac:picMkLst>
        </pc:picChg>
      </pc:sldChg>
      <pc:sldChg chg="addSp delSp modSp add">
        <pc:chgData name="Thotakura, Ashok" userId="8def16fa-05a4-42f6-9097-35114c55c601" providerId="ADAL" clId="{A31C1501-9031-4446-AA58-80822123E173}" dt="2021-02-16T15:45:21.876" v="838"/>
        <pc:sldMkLst>
          <pc:docMk/>
          <pc:sldMk cId="2776706470" sldId="658"/>
        </pc:sldMkLst>
        <pc:spChg chg="mod">
          <ac:chgData name="Thotakura, Ashok" userId="8def16fa-05a4-42f6-9097-35114c55c601" providerId="ADAL" clId="{A31C1501-9031-4446-AA58-80822123E173}" dt="2021-02-16T15:45:21.876" v="838"/>
          <ac:spMkLst>
            <pc:docMk/>
            <pc:sldMk cId="2776706470" sldId="658"/>
            <ac:spMk id="2" creationId="{00000000-0000-0000-0000-000000000000}"/>
          </ac:spMkLst>
        </pc:spChg>
        <pc:picChg chg="add mod">
          <ac:chgData name="Thotakura, Ashok" userId="8def16fa-05a4-42f6-9097-35114c55c601" providerId="ADAL" clId="{A31C1501-9031-4446-AA58-80822123E173}" dt="2021-02-16T15:45:07.359" v="832" actId="1076"/>
          <ac:picMkLst>
            <pc:docMk/>
            <pc:sldMk cId="2776706470" sldId="658"/>
            <ac:picMk id="3" creationId="{D15F9A03-D6C2-4598-BB58-7D2A7DEDBC0D}"/>
          </ac:picMkLst>
        </pc:picChg>
        <pc:picChg chg="del">
          <ac:chgData name="Thotakura, Ashok" userId="8def16fa-05a4-42f6-9097-35114c55c601" providerId="ADAL" clId="{A31C1501-9031-4446-AA58-80822123E173}" dt="2021-02-16T15:44:50.194" v="828" actId="478"/>
          <ac:picMkLst>
            <pc:docMk/>
            <pc:sldMk cId="2776706470" sldId="658"/>
            <ac:picMk id="4" creationId="{104552CF-9E13-45DE-AD2F-FEF543EEFF57}"/>
          </ac:picMkLst>
        </pc:picChg>
      </pc:sldChg>
      <pc:sldChg chg="add">
        <pc:chgData name="Thotakura, Ashok" userId="8def16fa-05a4-42f6-9097-35114c55c601" providerId="ADAL" clId="{A31C1501-9031-4446-AA58-80822123E173}" dt="2021-02-16T15:34:27.878" v="765"/>
        <pc:sldMkLst>
          <pc:docMk/>
          <pc:sldMk cId="1559625263" sldId="659"/>
        </pc:sldMkLst>
      </pc:sldChg>
      <pc:sldChg chg="modSp add">
        <pc:chgData name="Thotakura, Ashok" userId="8def16fa-05a4-42f6-9097-35114c55c601" providerId="ADAL" clId="{A31C1501-9031-4446-AA58-80822123E173}" dt="2021-02-16T15:34:52.935" v="787" actId="20577"/>
        <pc:sldMkLst>
          <pc:docMk/>
          <pc:sldMk cId="3890558902" sldId="660"/>
        </pc:sldMkLst>
        <pc:spChg chg="mod">
          <ac:chgData name="Thotakura, Ashok" userId="8def16fa-05a4-42f6-9097-35114c55c601" providerId="ADAL" clId="{A31C1501-9031-4446-AA58-80822123E173}" dt="2021-02-16T15:34:52.935" v="787" actId="20577"/>
          <ac:spMkLst>
            <pc:docMk/>
            <pc:sldMk cId="3890558902" sldId="660"/>
            <ac:spMk id="2" creationId="{00000000-0000-0000-0000-000000000000}"/>
          </ac:spMkLst>
        </pc:spChg>
      </pc:sldChg>
      <pc:sldChg chg="addSp delSp modSp add">
        <pc:chgData name="Thotakura, Ashok" userId="8def16fa-05a4-42f6-9097-35114c55c601" providerId="ADAL" clId="{A31C1501-9031-4446-AA58-80822123E173}" dt="2021-02-16T16:32:16.623" v="898" actId="20577"/>
        <pc:sldMkLst>
          <pc:docMk/>
          <pc:sldMk cId="1623098683" sldId="661"/>
        </pc:sldMkLst>
        <pc:spChg chg="mod">
          <ac:chgData name="Thotakura, Ashok" userId="8def16fa-05a4-42f6-9097-35114c55c601" providerId="ADAL" clId="{A31C1501-9031-4446-AA58-80822123E173}" dt="2021-02-16T16:32:16.623" v="898" actId="20577"/>
          <ac:spMkLst>
            <pc:docMk/>
            <pc:sldMk cId="1623098683" sldId="661"/>
            <ac:spMk id="2" creationId="{00000000-0000-0000-0000-000000000000}"/>
          </ac:spMkLst>
        </pc:spChg>
        <pc:picChg chg="del">
          <ac:chgData name="Thotakura, Ashok" userId="8def16fa-05a4-42f6-9097-35114c55c601" providerId="ADAL" clId="{A31C1501-9031-4446-AA58-80822123E173}" dt="2021-02-16T16:32:12.450" v="894" actId="478"/>
          <ac:picMkLst>
            <pc:docMk/>
            <pc:sldMk cId="1623098683" sldId="661"/>
            <ac:picMk id="3" creationId="{9AF249CB-8A4F-4DAD-B403-79FB94253D70}"/>
          </ac:picMkLst>
        </pc:picChg>
        <pc:picChg chg="add">
          <ac:chgData name="Thotakura, Ashok" userId="8def16fa-05a4-42f6-9097-35114c55c601" providerId="ADAL" clId="{A31C1501-9031-4446-AA58-80822123E173}" dt="2021-02-16T16:32:12.891" v="895"/>
          <ac:picMkLst>
            <pc:docMk/>
            <pc:sldMk cId="1623098683" sldId="661"/>
            <ac:picMk id="4" creationId="{61238315-D075-4546-A3A2-A658C8D957E0}"/>
          </ac:picMkLst>
        </pc:picChg>
      </pc:sldChg>
      <pc:sldChg chg="add del">
        <pc:chgData name="Thotakura, Ashok" userId="8def16fa-05a4-42f6-9097-35114c55c601" providerId="ADAL" clId="{A31C1501-9031-4446-AA58-80822123E173}" dt="2021-02-16T15:35:03.012" v="789" actId="2696"/>
        <pc:sldMkLst>
          <pc:docMk/>
          <pc:sldMk cId="2252190993" sldId="662"/>
        </pc:sldMkLst>
      </pc:sldChg>
      <pc:sldChg chg="addSp delSp modSp add">
        <pc:chgData name="Thotakura, Ashok" userId="8def16fa-05a4-42f6-9097-35114c55c601" providerId="ADAL" clId="{A31C1501-9031-4446-AA58-80822123E173}" dt="2021-02-16T15:44:43.885" v="827" actId="14100"/>
        <pc:sldMkLst>
          <pc:docMk/>
          <pc:sldMk cId="2842050329" sldId="662"/>
        </pc:sldMkLst>
        <pc:spChg chg="mod">
          <ac:chgData name="Thotakura, Ashok" userId="8def16fa-05a4-42f6-9097-35114c55c601" providerId="ADAL" clId="{A31C1501-9031-4446-AA58-80822123E173}" dt="2021-02-16T15:44:35.109" v="823" actId="20577"/>
          <ac:spMkLst>
            <pc:docMk/>
            <pc:sldMk cId="2842050329" sldId="662"/>
            <ac:spMk id="2" creationId="{00000000-0000-0000-0000-000000000000}"/>
          </ac:spMkLst>
        </pc:spChg>
        <pc:picChg chg="del">
          <ac:chgData name="Thotakura, Ashok" userId="8def16fa-05a4-42f6-9097-35114c55c601" providerId="ADAL" clId="{A31C1501-9031-4446-AA58-80822123E173}" dt="2021-02-16T15:44:36.917" v="824" actId="478"/>
          <ac:picMkLst>
            <pc:docMk/>
            <pc:sldMk cId="2842050329" sldId="662"/>
            <ac:picMk id="3" creationId="{5BF05FA0-1744-4B54-B759-D842B9063F21}"/>
          </ac:picMkLst>
        </pc:picChg>
        <pc:picChg chg="add mod">
          <ac:chgData name="Thotakura, Ashok" userId="8def16fa-05a4-42f6-9097-35114c55c601" providerId="ADAL" clId="{A31C1501-9031-4446-AA58-80822123E173}" dt="2021-02-16T15:44:43.885" v="827" actId="14100"/>
          <ac:picMkLst>
            <pc:docMk/>
            <pc:sldMk cId="2842050329" sldId="662"/>
            <ac:picMk id="4" creationId="{5D16B786-76BA-4DCE-95D7-B937BCE18FBD}"/>
          </ac:picMkLst>
        </pc:picChg>
      </pc:sldChg>
      <pc:sldChg chg="addSp delSp modSp add">
        <pc:chgData name="Thotakura, Ashok" userId="8def16fa-05a4-42f6-9097-35114c55c601" providerId="ADAL" clId="{A31C1501-9031-4446-AA58-80822123E173}" dt="2021-02-16T16:46:42.454" v="931" actId="9405"/>
        <pc:sldMkLst>
          <pc:docMk/>
          <pc:sldMk cId="2729071175" sldId="663"/>
        </pc:sldMkLst>
        <pc:spChg chg="mod">
          <ac:chgData name="Thotakura, Ashok" userId="8def16fa-05a4-42f6-9097-35114c55c601" providerId="ADAL" clId="{A31C1501-9031-4446-AA58-80822123E173}" dt="2021-02-16T16:11:09.808" v="891" actId="20577"/>
          <ac:spMkLst>
            <pc:docMk/>
            <pc:sldMk cId="2729071175" sldId="663"/>
            <ac:spMk id="2" creationId="{00000000-0000-0000-0000-000000000000}"/>
          </ac:spMkLst>
        </pc:spChg>
        <pc:picChg chg="del">
          <ac:chgData name="Thotakura, Ashok" userId="8def16fa-05a4-42f6-9097-35114c55c601" providerId="ADAL" clId="{A31C1501-9031-4446-AA58-80822123E173}" dt="2021-02-16T16:11:05.278" v="884" actId="478"/>
          <ac:picMkLst>
            <pc:docMk/>
            <pc:sldMk cId="2729071175" sldId="663"/>
            <ac:picMk id="3" creationId="{774CCE6B-9817-4740-A5D4-3B3362DCC798}"/>
          </ac:picMkLst>
        </pc:picChg>
        <pc:picChg chg="add">
          <ac:chgData name="Thotakura, Ashok" userId="8def16fa-05a4-42f6-9097-35114c55c601" providerId="ADAL" clId="{A31C1501-9031-4446-AA58-80822123E173}" dt="2021-02-16T16:11:05.721" v="885"/>
          <ac:picMkLst>
            <pc:docMk/>
            <pc:sldMk cId="2729071175" sldId="663"/>
            <ac:picMk id="4" creationId="{A4F18F38-2FFC-4583-A347-45E48A572E2A}"/>
          </ac:picMkLst>
        </pc:picChg>
        <pc:inkChg chg="add">
          <ac:chgData name="Thotakura, Ashok" userId="8def16fa-05a4-42f6-9097-35114c55c601" providerId="ADAL" clId="{A31C1501-9031-4446-AA58-80822123E173}" dt="2021-02-16T16:46:41.998" v="930" actId="9405"/>
          <ac:inkMkLst>
            <pc:docMk/>
            <pc:sldMk cId="2729071175" sldId="663"/>
            <ac:inkMk id="5" creationId="{2927A3B3-E145-4C05-9A78-CDD77F2AE863}"/>
          </ac:inkMkLst>
        </pc:inkChg>
        <pc:inkChg chg="add">
          <ac:chgData name="Thotakura, Ashok" userId="8def16fa-05a4-42f6-9097-35114c55c601" providerId="ADAL" clId="{A31C1501-9031-4446-AA58-80822123E173}" dt="2021-02-16T16:46:42.454" v="931" actId="9405"/>
          <ac:inkMkLst>
            <pc:docMk/>
            <pc:sldMk cId="2729071175" sldId="663"/>
            <ac:inkMk id="6" creationId="{1529EDE0-38F7-4E25-8CF8-3492E1C7B50C}"/>
          </ac:inkMkLst>
        </pc:inkChg>
      </pc:sldChg>
      <pc:sldChg chg="addSp delSp modSp add ord">
        <pc:chgData name="Thotakura, Ashok" userId="8def16fa-05a4-42f6-9097-35114c55c601" providerId="ADAL" clId="{A31C1501-9031-4446-AA58-80822123E173}" dt="2021-02-22T10:51:08.735" v="1067"/>
        <pc:sldMkLst>
          <pc:docMk/>
          <pc:sldMk cId="1096604908" sldId="664"/>
        </pc:sldMkLst>
        <pc:spChg chg="mod">
          <ac:chgData name="Thotakura, Ashok" userId="8def16fa-05a4-42f6-9097-35114c55c601" providerId="ADAL" clId="{A31C1501-9031-4446-AA58-80822123E173}" dt="2021-02-16T16:07:02.919" v="883" actId="20577"/>
          <ac:spMkLst>
            <pc:docMk/>
            <pc:sldMk cId="1096604908" sldId="664"/>
            <ac:spMk id="2" creationId="{00000000-0000-0000-0000-000000000000}"/>
          </ac:spMkLst>
        </pc:spChg>
        <pc:picChg chg="add">
          <ac:chgData name="Thotakura, Ashok" userId="8def16fa-05a4-42f6-9097-35114c55c601" providerId="ADAL" clId="{A31C1501-9031-4446-AA58-80822123E173}" dt="2021-02-16T16:06:53.923" v="872"/>
          <ac:picMkLst>
            <pc:docMk/>
            <pc:sldMk cId="1096604908" sldId="664"/>
            <ac:picMk id="3" creationId="{D54E980C-5320-444C-B209-7D25DAE44228}"/>
          </ac:picMkLst>
        </pc:picChg>
        <pc:picChg chg="del">
          <ac:chgData name="Thotakura, Ashok" userId="8def16fa-05a4-42f6-9097-35114c55c601" providerId="ADAL" clId="{A31C1501-9031-4446-AA58-80822123E173}" dt="2021-02-16T16:06:53.524" v="871" actId="478"/>
          <ac:picMkLst>
            <pc:docMk/>
            <pc:sldMk cId="1096604908" sldId="664"/>
            <ac:picMk id="4" creationId="{104552CF-9E13-45DE-AD2F-FEF543EEFF57}"/>
          </ac:picMkLst>
        </pc:picChg>
      </pc:sldChg>
      <pc:sldChg chg="addSp">
        <pc:chgData name="Thotakura, Ashok" userId="8def16fa-05a4-42f6-9097-35114c55c601" providerId="ADAL" clId="{A31C1501-9031-4446-AA58-80822123E173}" dt="2021-02-22T10:49:24.973" v="1066" actId="9405"/>
        <pc:sldMkLst>
          <pc:docMk/>
          <pc:sldMk cId="3821610941" sldId="667"/>
        </pc:sldMkLst>
        <pc:inkChg chg="add">
          <ac:chgData name="Thotakura, Ashok" userId="8def16fa-05a4-42f6-9097-35114c55c601" providerId="ADAL" clId="{A31C1501-9031-4446-AA58-80822123E173}" dt="2021-02-22T10:49:24.973" v="1066" actId="9405"/>
          <ac:inkMkLst>
            <pc:docMk/>
            <pc:sldMk cId="3821610941" sldId="667"/>
            <ac:inkMk id="4" creationId="{BAD3502C-6454-40C5-8A55-458C2D95E006}"/>
          </ac:inkMkLst>
        </pc:inkChg>
      </pc:sldChg>
    </pc:docChg>
  </pc:docChgLst>
  <pc:docChgLst>
    <pc:chgData name="Vallepalli, Thandava" userId="61f37ead-8e94-430f-ab46-1cf20f09dc50" providerId="ADAL" clId="{03E0CCEC-C918-48E7-A328-CB502E38FDD4}"/>
    <pc:docChg chg="undo custSel addSld delSld modSld sldOrd">
      <pc:chgData name="Vallepalli, Thandava" userId="61f37ead-8e94-430f-ab46-1cf20f09dc50" providerId="ADAL" clId="{03E0CCEC-C918-48E7-A328-CB502E38FDD4}" dt="2021-06-14T13:13:16.907" v="676" actId="20577"/>
      <pc:docMkLst>
        <pc:docMk/>
      </pc:docMkLst>
      <pc:sldChg chg="modSp mod">
        <pc:chgData name="Vallepalli, Thandava" userId="61f37ead-8e94-430f-ab46-1cf20f09dc50" providerId="ADAL" clId="{03E0CCEC-C918-48E7-A328-CB502E38FDD4}" dt="2021-06-14T13:13:16.907" v="676" actId="20577"/>
        <pc:sldMkLst>
          <pc:docMk/>
          <pc:sldMk cId="2018669121" sldId="457"/>
        </pc:sldMkLst>
        <pc:spChg chg="mod">
          <ac:chgData name="Vallepalli, Thandava" userId="61f37ead-8e94-430f-ab46-1cf20f09dc50" providerId="ADAL" clId="{03E0CCEC-C918-48E7-A328-CB502E38FDD4}" dt="2021-06-14T13:13:16.907" v="676" actId="20577"/>
          <ac:spMkLst>
            <pc:docMk/>
            <pc:sldMk cId="2018669121" sldId="457"/>
            <ac:spMk id="5" creationId="{00000000-0000-0000-0000-000000000000}"/>
          </ac:spMkLst>
        </pc:spChg>
      </pc:sldChg>
      <pc:sldChg chg="modSp mod modNotes modNotesTx">
        <pc:chgData name="Vallepalli, Thandava" userId="61f37ead-8e94-430f-ab46-1cf20f09dc50" providerId="ADAL" clId="{03E0CCEC-C918-48E7-A328-CB502E38FDD4}" dt="2021-06-14T12:44:13.125" v="670" actId="6549"/>
        <pc:sldMkLst>
          <pc:docMk/>
          <pc:sldMk cId="954719197" sldId="626"/>
        </pc:sldMkLst>
        <pc:spChg chg="mod">
          <ac:chgData name="Vallepalli, Thandava" userId="61f37ead-8e94-430f-ab46-1cf20f09dc50" providerId="ADAL" clId="{03E0CCEC-C918-48E7-A328-CB502E38FDD4}" dt="2021-06-14T12:38:46.160" v="616" actId="20577"/>
          <ac:spMkLst>
            <pc:docMk/>
            <pc:sldMk cId="954719197" sldId="626"/>
            <ac:spMk id="15" creationId="{074C2DA8-19CE-D045-9434-5C5AB311BB25}"/>
          </ac:spMkLst>
        </pc:spChg>
        <pc:spChg chg="mod">
          <ac:chgData name="Vallepalli, Thandava" userId="61f37ead-8e94-430f-ab46-1cf20f09dc50" providerId="ADAL" clId="{03E0CCEC-C918-48E7-A328-CB502E38FDD4}" dt="2021-06-14T12:44:13.125" v="670" actId="6549"/>
          <ac:spMkLst>
            <pc:docMk/>
            <pc:sldMk cId="954719197" sldId="626"/>
            <ac:spMk id="16" creationId="{36A79F1E-03AC-B642-8C06-6A7AF071D418}"/>
          </ac:spMkLst>
        </pc:spChg>
        <pc:spChg chg="mod">
          <ac:chgData name="Vallepalli, Thandava" userId="61f37ead-8e94-430f-ab46-1cf20f09dc50" providerId="ADAL" clId="{03E0CCEC-C918-48E7-A328-CB502E38FDD4}" dt="2021-06-14T11:32:45.845" v="531" actId="20577"/>
          <ac:spMkLst>
            <pc:docMk/>
            <pc:sldMk cId="954719197" sldId="626"/>
            <ac:spMk id="17" creationId="{C4353D8C-2FE4-404C-B620-F2FDADF7A733}"/>
          </ac:spMkLst>
        </pc:spChg>
        <pc:grpChg chg="mod">
          <ac:chgData name="Vallepalli, Thandava" userId="61f37ead-8e94-430f-ab46-1cf20f09dc50" providerId="ADAL" clId="{03E0CCEC-C918-48E7-A328-CB502E38FDD4}" dt="2021-06-14T12:34:09.399" v="577" actId="14100"/>
          <ac:grpSpMkLst>
            <pc:docMk/>
            <pc:sldMk cId="954719197" sldId="626"/>
            <ac:grpSpMk id="8" creationId="{5B95B903-2357-EF4F-8F8A-1CFBFE94378A}"/>
          </ac:grpSpMkLst>
        </pc:grpChg>
      </pc:sldChg>
      <pc:sldChg chg="addSp delSp modSp mod">
        <pc:chgData name="Vallepalli, Thandava" userId="61f37ead-8e94-430f-ab46-1cf20f09dc50" providerId="ADAL" clId="{03E0CCEC-C918-48E7-A328-CB502E38FDD4}" dt="2021-06-13T16:20:58.904" v="285" actId="1036"/>
        <pc:sldMkLst>
          <pc:docMk/>
          <pc:sldMk cId="4267676092" sldId="653"/>
        </pc:sldMkLst>
        <pc:spChg chg="mod">
          <ac:chgData name="Vallepalli, Thandava" userId="61f37ead-8e94-430f-ab46-1cf20f09dc50" providerId="ADAL" clId="{03E0CCEC-C918-48E7-A328-CB502E38FDD4}" dt="2021-06-09T11:26:01.569" v="140" actId="20577"/>
          <ac:spMkLst>
            <pc:docMk/>
            <pc:sldMk cId="4267676092" sldId="653"/>
            <ac:spMk id="13" creationId="{DC998C0D-D063-47CC-AAE2-B51820FAD883}"/>
          </ac:spMkLst>
        </pc:spChg>
        <pc:picChg chg="add del">
          <ac:chgData name="Vallepalli, Thandava" userId="61f37ead-8e94-430f-ab46-1cf20f09dc50" providerId="ADAL" clId="{03E0CCEC-C918-48E7-A328-CB502E38FDD4}" dt="2021-06-09T11:10:16.894" v="3"/>
          <ac:picMkLst>
            <pc:docMk/>
            <pc:sldMk cId="4267676092" sldId="653"/>
            <ac:picMk id="3" creationId="{61CDB361-090B-4874-B855-40F9A638EE09}"/>
          </ac:picMkLst>
        </pc:picChg>
        <pc:picChg chg="add del mod">
          <ac:chgData name="Vallepalli, Thandava" userId="61f37ead-8e94-430f-ab46-1cf20f09dc50" providerId="ADAL" clId="{03E0CCEC-C918-48E7-A328-CB502E38FDD4}" dt="2021-06-13T16:20:32.921" v="230" actId="478"/>
          <ac:picMkLst>
            <pc:docMk/>
            <pc:sldMk cId="4267676092" sldId="653"/>
            <ac:picMk id="3" creationId="{CC9866FC-9CB7-4460-853A-14D9F9EBF7F3}"/>
          </ac:picMkLst>
        </pc:picChg>
        <pc:picChg chg="add del mod">
          <ac:chgData name="Vallepalli, Thandava" userId="61f37ead-8e94-430f-ab46-1cf20f09dc50" providerId="ADAL" clId="{03E0CCEC-C918-48E7-A328-CB502E38FDD4}" dt="2021-06-13T15:36:07.406" v="159" actId="478"/>
          <ac:picMkLst>
            <pc:docMk/>
            <pc:sldMk cId="4267676092" sldId="653"/>
            <ac:picMk id="4" creationId="{ECC20532-07E7-486F-AD17-F1278D71EAAD}"/>
          </ac:picMkLst>
        </pc:picChg>
        <pc:picChg chg="add mod">
          <ac:chgData name="Vallepalli, Thandava" userId="61f37ead-8e94-430f-ab46-1cf20f09dc50" providerId="ADAL" clId="{03E0CCEC-C918-48E7-A328-CB502E38FDD4}" dt="2021-06-13T16:20:58.904" v="285" actId="1036"/>
          <ac:picMkLst>
            <pc:docMk/>
            <pc:sldMk cId="4267676092" sldId="653"/>
            <ac:picMk id="5" creationId="{310F8660-E819-4CDB-A1BE-571E065A6418}"/>
          </ac:picMkLst>
        </pc:picChg>
        <pc:picChg chg="del">
          <ac:chgData name="Vallepalli, Thandava" userId="61f37ead-8e94-430f-ab46-1cf20f09dc50" providerId="ADAL" clId="{03E0CCEC-C918-48E7-A328-CB502E38FDD4}" dt="2021-06-09T11:06:44.449" v="1" actId="478"/>
          <ac:picMkLst>
            <pc:docMk/>
            <pc:sldMk cId="4267676092" sldId="653"/>
            <ac:picMk id="6" creationId="{CD7D3321-AC60-4C97-8299-CE77A40BC32F}"/>
          </ac:picMkLst>
        </pc:picChg>
      </pc:sldChg>
      <pc:sldChg chg="add ord">
        <pc:chgData name="Vallepalli, Thandava" userId="61f37ead-8e94-430f-ab46-1cf20f09dc50" providerId="ADAL" clId="{03E0CCEC-C918-48E7-A328-CB502E38FDD4}" dt="2021-06-09T11:20:50.905" v="112"/>
        <pc:sldMkLst>
          <pc:docMk/>
          <pc:sldMk cId="2849097494" sldId="671"/>
        </pc:sldMkLst>
      </pc:sldChg>
      <pc:sldChg chg="addSp delSp modSp add mod">
        <pc:chgData name="Vallepalli, Thandava" userId="61f37ead-8e94-430f-ab46-1cf20f09dc50" providerId="ADAL" clId="{03E0CCEC-C918-48E7-A328-CB502E38FDD4}" dt="2021-06-14T11:55:24.785" v="576" actId="1036"/>
        <pc:sldMkLst>
          <pc:docMk/>
          <pc:sldMk cId="1836145309" sldId="674"/>
        </pc:sldMkLst>
        <pc:spChg chg="mod">
          <ac:chgData name="Vallepalli, Thandava" userId="61f37ead-8e94-430f-ab46-1cf20f09dc50" providerId="ADAL" clId="{03E0CCEC-C918-48E7-A328-CB502E38FDD4}" dt="2021-06-14T03:55:27.721" v="347" actId="20577"/>
          <ac:spMkLst>
            <pc:docMk/>
            <pc:sldMk cId="1836145309" sldId="674"/>
            <ac:spMk id="2" creationId="{00000000-0000-0000-0000-000000000000}"/>
          </ac:spMkLst>
        </pc:spChg>
        <pc:picChg chg="add del mod">
          <ac:chgData name="Vallepalli, Thandava" userId="61f37ead-8e94-430f-ab46-1cf20f09dc50" providerId="ADAL" clId="{03E0CCEC-C918-48E7-A328-CB502E38FDD4}" dt="2021-06-14T11:55:08.184" v="547" actId="478"/>
          <ac:picMkLst>
            <pc:docMk/>
            <pc:sldMk cId="1836145309" sldId="674"/>
            <ac:picMk id="3" creationId="{AE00EF78-C19E-43F3-8EBA-1035CF0A43D8}"/>
          </ac:picMkLst>
        </pc:picChg>
        <pc:picChg chg="add mod">
          <ac:chgData name="Vallepalli, Thandava" userId="61f37ead-8e94-430f-ab46-1cf20f09dc50" providerId="ADAL" clId="{03E0CCEC-C918-48E7-A328-CB502E38FDD4}" dt="2021-06-14T11:55:24.785" v="576" actId="1036"/>
          <ac:picMkLst>
            <pc:docMk/>
            <pc:sldMk cId="1836145309" sldId="674"/>
            <ac:picMk id="4" creationId="{D67BCD92-DF06-4146-821C-F108A10643B1}"/>
          </ac:picMkLst>
        </pc:picChg>
        <pc:picChg chg="del">
          <ac:chgData name="Vallepalli, Thandava" userId="61f37ead-8e94-430f-ab46-1cf20f09dc50" providerId="ADAL" clId="{03E0CCEC-C918-48E7-A328-CB502E38FDD4}" dt="2021-06-09T11:22:03.002" v="114" actId="478"/>
          <ac:picMkLst>
            <pc:docMk/>
            <pc:sldMk cId="1836145309" sldId="674"/>
            <ac:picMk id="7" creationId="{A2D1AB47-814A-4CAC-98B1-39319B479C2C}"/>
          </ac:picMkLst>
        </pc:picChg>
        <pc:inkChg chg="del">
          <ac:chgData name="Vallepalli, Thandava" userId="61f37ead-8e94-430f-ab46-1cf20f09dc50" providerId="ADAL" clId="{03E0CCEC-C918-48E7-A328-CB502E38FDD4}" dt="2021-06-09T11:22:07.198" v="115" actId="478"/>
          <ac:inkMkLst>
            <pc:docMk/>
            <pc:sldMk cId="1836145309" sldId="674"/>
            <ac:inkMk id="4" creationId="{42755654-87D6-4B2E-9782-9D0CCC57CE9E}"/>
          </ac:inkMkLst>
        </pc:inkChg>
        <pc:inkChg chg="del">
          <ac:chgData name="Vallepalli, Thandava" userId="61f37ead-8e94-430f-ab46-1cf20f09dc50" providerId="ADAL" clId="{03E0CCEC-C918-48E7-A328-CB502E38FDD4}" dt="2021-06-09T11:22:09.257" v="116" actId="478"/>
          <ac:inkMkLst>
            <pc:docMk/>
            <pc:sldMk cId="1836145309" sldId="674"/>
            <ac:inkMk id="5" creationId="{F12A2533-7F64-4C57-9BD4-0BFBF8A537B3}"/>
          </ac:inkMkLst>
        </pc:inkChg>
      </pc:sldChg>
      <pc:sldChg chg="modSp mod">
        <pc:chgData name="Vallepalli, Thandava" userId="61f37ead-8e94-430f-ab46-1cf20f09dc50" providerId="ADAL" clId="{03E0CCEC-C918-48E7-A328-CB502E38FDD4}" dt="2021-06-13T16:19:16.658" v="229" actId="14100"/>
        <pc:sldMkLst>
          <pc:docMk/>
          <pc:sldMk cId="486616187" sldId="777"/>
        </pc:sldMkLst>
        <pc:spChg chg="mod">
          <ac:chgData name="Vallepalli, Thandava" userId="61f37ead-8e94-430f-ab46-1cf20f09dc50" providerId="ADAL" clId="{03E0CCEC-C918-48E7-A328-CB502E38FDD4}" dt="2021-06-11T05:20:39.498" v="157" actId="20577"/>
          <ac:spMkLst>
            <pc:docMk/>
            <pc:sldMk cId="486616187" sldId="777"/>
            <ac:spMk id="99" creationId="{2373D35E-33CB-42C2-9137-956790AEE45C}"/>
          </ac:spMkLst>
        </pc:spChg>
        <pc:spChg chg="mod">
          <ac:chgData name="Vallepalli, Thandava" userId="61f37ead-8e94-430f-ab46-1cf20f09dc50" providerId="ADAL" clId="{03E0CCEC-C918-48E7-A328-CB502E38FDD4}" dt="2021-06-13T16:19:01.076" v="228" actId="1035"/>
          <ac:spMkLst>
            <pc:docMk/>
            <pc:sldMk cId="486616187" sldId="777"/>
            <ac:spMk id="132" creationId="{14BF66AD-D022-4299-89E2-C3520367CB41}"/>
          </ac:spMkLst>
        </pc:spChg>
        <pc:picChg chg="mod">
          <ac:chgData name="Vallepalli, Thandava" userId="61f37ead-8e94-430f-ab46-1cf20f09dc50" providerId="ADAL" clId="{03E0CCEC-C918-48E7-A328-CB502E38FDD4}" dt="2021-06-13T16:19:16.658" v="229" actId="14100"/>
          <ac:picMkLst>
            <pc:docMk/>
            <pc:sldMk cId="486616187" sldId="777"/>
            <ac:picMk id="127" creationId="{76A9C6D8-2C62-4ADD-BE79-0B6D3748757E}"/>
          </ac:picMkLst>
        </pc:picChg>
        <pc:picChg chg="mod">
          <ac:chgData name="Vallepalli, Thandava" userId="61f37ead-8e94-430f-ab46-1cf20f09dc50" providerId="ADAL" clId="{03E0CCEC-C918-48E7-A328-CB502E38FDD4}" dt="2021-06-13T16:18:56.402" v="221" actId="1035"/>
          <ac:picMkLst>
            <pc:docMk/>
            <pc:sldMk cId="486616187" sldId="777"/>
            <ac:picMk id="142" creationId="{821F192F-B71E-4091-8278-3578840B312F}"/>
          </ac:picMkLst>
        </pc:picChg>
      </pc:sldChg>
      <pc:sldChg chg="add del">
        <pc:chgData name="Vallepalli, Thandava" userId="61f37ead-8e94-430f-ab46-1cf20f09dc50" providerId="ADAL" clId="{03E0CCEC-C918-48E7-A328-CB502E38FDD4}" dt="2021-06-13T15:37:25.500" v="183" actId="47"/>
        <pc:sldMkLst>
          <pc:docMk/>
          <pc:sldMk cId="2137421427" sldId="799"/>
        </pc:sldMkLst>
      </pc:sldChg>
      <pc:sldChg chg="addSp delSp modSp add mod">
        <pc:chgData name="Vallepalli, Thandava" userId="61f37ead-8e94-430f-ab46-1cf20f09dc50" providerId="ADAL" clId="{03E0CCEC-C918-48E7-A328-CB502E38FDD4}" dt="2021-06-14T03:55:01.994" v="339" actId="1036"/>
        <pc:sldMkLst>
          <pc:docMk/>
          <pc:sldMk cId="4091445756" sldId="799"/>
        </pc:sldMkLst>
        <pc:spChg chg="mod">
          <ac:chgData name="Vallepalli, Thandava" userId="61f37ead-8e94-430f-ab46-1cf20f09dc50" providerId="ADAL" clId="{03E0CCEC-C918-48E7-A328-CB502E38FDD4}" dt="2021-06-14T03:54:54.545" v="317" actId="20577"/>
          <ac:spMkLst>
            <pc:docMk/>
            <pc:sldMk cId="4091445756" sldId="799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03E0CCEC-C918-48E7-A328-CB502E38FDD4}" dt="2021-06-14T03:54:36.221" v="287" actId="478"/>
          <ac:picMkLst>
            <pc:docMk/>
            <pc:sldMk cId="4091445756" sldId="799"/>
            <ac:picMk id="3" creationId="{AE00EF78-C19E-43F3-8EBA-1035CF0A43D8}"/>
          </ac:picMkLst>
        </pc:picChg>
        <pc:picChg chg="add mod">
          <ac:chgData name="Vallepalli, Thandava" userId="61f37ead-8e94-430f-ab46-1cf20f09dc50" providerId="ADAL" clId="{03E0CCEC-C918-48E7-A328-CB502E38FDD4}" dt="2021-06-14T03:55:01.994" v="339" actId="1036"/>
          <ac:picMkLst>
            <pc:docMk/>
            <pc:sldMk cId="4091445756" sldId="799"/>
            <ac:picMk id="4" creationId="{95832135-93D2-4E13-9C4F-A00B61114956}"/>
          </ac:picMkLst>
        </pc:picChg>
      </pc:sldChg>
      <pc:sldChg chg="addSp delSp modSp mod">
        <pc:chgData name="Vallepalli, Thandava" userId="61f37ead-8e94-430f-ab46-1cf20f09dc50" providerId="ADAL" clId="{03E0CCEC-C918-48E7-A328-CB502E38FDD4}" dt="2021-06-14T11:41:24.077" v="546" actId="1037"/>
        <pc:sldMkLst>
          <pc:docMk/>
          <pc:sldMk cId="919561804" sldId="800"/>
        </pc:sldMkLst>
        <pc:spChg chg="mod">
          <ac:chgData name="Vallepalli, Thandava" userId="61f37ead-8e94-430f-ab46-1cf20f09dc50" providerId="ADAL" clId="{03E0CCEC-C918-48E7-A328-CB502E38FDD4}" dt="2021-06-14T11:32:57.861" v="538" actId="20577"/>
          <ac:spMkLst>
            <pc:docMk/>
            <pc:sldMk cId="919561804" sldId="800"/>
            <ac:spMk id="2" creationId="{00000000-0000-0000-0000-000000000000}"/>
          </ac:spMkLst>
        </pc:spChg>
        <pc:picChg chg="del mod">
          <ac:chgData name="Vallepalli, Thandava" userId="61f37ead-8e94-430f-ab46-1cf20f09dc50" providerId="ADAL" clId="{03E0CCEC-C918-48E7-A328-CB502E38FDD4}" dt="2021-06-14T11:41:08.625" v="540" actId="478"/>
          <ac:picMkLst>
            <pc:docMk/>
            <pc:sldMk cId="919561804" sldId="800"/>
            <ac:picMk id="4" creationId="{E0D6BF1C-4E29-41D0-9E45-F89EE4C4141F}"/>
          </ac:picMkLst>
        </pc:picChg>
        <pc:picChg chg="add mod">
          <ac:chgData name="Vallepalli, Thandava" userId="61f37ead-8e94-430f-ab46-1cf20f09dc50" providerId="ADAL" clId="{03E0CCEC-C918-48E7-A328-CB502E38FDD4}" dt="2021-06-14T11:41:24.077" v="546" actId="1037"/>
          <ac:picMkLst>
            <pc:docMk/>
            <pc:sldMk cId="919561804" sldId="800"/>
            <ac:picMk id="6" creationId="{9D86040D-C1EF-4FF6-89D9-86B8505A5C2B}"/>
          </ac:picMkLst>
        </pc:picChg>
      </pc:sldChg>
    </pc:docChg>
  </pc:docChgLst>
  <pc:docChgLst>
    <pc:chgData name="Vallepalli, Thandava" userId="61f37ead-8e94-430f-ab46-1cf20f09dc50" providerId="ADAL" clId="{F4A39C6E-C66A-4241-8C79-17DA68C49427}"/>
    <pc:docChg chg="undo custSel addSld delSld modSld sldOrd">
      <pc:chgData name="Vallepalli, Thandava" userId="61f37ead-8e94-430f-ab46-1cf20f09dc50" providerId="ADAL" clId="{F4A39C6E-C66A-4241-8C79-17DA68C49427}" dt="2021-02-22T11:39:05.855" v="998" actId="20577"/>
      <pc:docMkLst>
        <pc:docMk/>
      </pc:docMkLst>
      <pc:sldChg chg="modSp">
        <pc:chgData name="Vallepalli, Thandava" userId="61f37ead-8e94-430f-ab46-1cf20f09dc50" providerId="ADAL" clId="{F4A39C6E-C66A-4241-8C79-17DA68C49427}" dt="2021-02-21T23:58:54.671" v="99" actId="20577"/>
        <pc:sldMkLst>
          <pc:docMk/>
          <pc:sldMk cId="2018669121" sldId="457"/>
        </pc:sldMkLst>
        <pc:spChg chg="mod">
          <ac:chgData name="Vallepalli, Thandava" userId="61f37ead-8e94-430f-ab46-1cf20f09dc50" providerId="ADAL" clId="{F4A39C6E-C66A-4241-8C79-17DA68C49427}" dt="2021-02-21T23:58:54.671" v="99" actId="20577"/>
          <ac:spMkLst>
            <pc:docMk/>
            <pc:sldMk cId="2018669121" sldId="457"/>
            <ac:spMk id="5" creationId="{00000000-0000-0000-0000-000000000000}"/>
          </ac:spMkLst>
        </pc:spChg>
      </pc:sldChg>
      <pc:sldChg chg="addSp delSp modSp">
        <pc:chgData name="Vallepalli, Thandava" userId="61f37ead-8e94-430f-ab46-1cf20f09dc50" providerId="ADAL" clId="{F4A39C6E-C66A-4241-8C79-17DA68C49427}" dt="2021-02-22T11:08:24.207" v="896" actId="20577"/>
        <pc:sldMkLst>
          <pc:docMk/>
          <pc:sldMk cId="3772836641" sldId="474"/>
        </pc:sldMkLst>
        <pc:spChg chg="mod">
          <ac:chgData name="Vallepalli, Thandava" userId="61f37ead-8e94-430f-ab46-1cf20f09dc50" providerId="ADAL" clId="{F4A39C6E-C66A-4241-8C79-17DA68C49427}" dt="2021-02-22T11:08:24.207" v="896" actId="20577"/>
          <ac:spMkLst>
            <pc:docMk/>
            <pc:sldMk cId="3772836641" sldId="474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F4A39C6E-C66A-4241-8C79-17DA68C49427}" dt="2021-02-22T11:08:08.614" v="883" actId="478"/>
          <ac:picMkLst>
            <pc:docMk/>
            <pc:sldMk cId="3772836641" sldId="474"/>
            <ac:picMk id="3" creationId="{6D944D10-05FA-4BE4-965E-33D44402B7F2}"/>
          </ac:picMkLst>
        </pc:picChg>
        <pc:picChg chg="add mod">
          <ac:chgData name="Vallepalli, Thandava" userId="61f37ead-8e94-430f-ab46-1cf20f09dc50" providerId="ADAL" clId="{F4A39C6E-C66A-4241-8C79-17DA68C49427}" dt="2021-02-22T11:08:14.831" v="885" actId="1076"/>
          <ac:picMkLst>
            <pc:docMk/>
            <pc:sldMk cId="3772836641" sldId="474"/>
            <ac:picMk id="4" creationId="{8B1D3739-47F9-4014-A702-35B396150AB6}"/>
          </ac:picMkLst>
        </pc:picChg>
      </pc:sldChg>
      <pc:sldChg chg="modSp">
        <pc:chgData name="Vallepalli, Thandava" userId="61f37ead-8e94-430f-ab46-1cf20f09dc50" providerId="ADAL" clId="{F4A39C6E-C66A-4241-8C79-17DA68C49427}" dt="2021-02-22T11:34:56.112" v="991" actId="33524"/>
        <pc:sldMkLst>
          <pc:docMk/>
          <pc:sldMk cId="653286514" sldId="517"/>
        </pc:sldMkLst>
        <pc:graphicFrameChg chg="modGraphic">
          <ac:chgData name="Vallepalli, Thandava" userId="61f37ead-8e94-430f-ab46-1cf20f09dc50" providerId="ADAL" clId="{F4A39C6E-C66A-4241-8C79-17DA68C49427}" dt="2021-02-22T11:34:56.112" v="991" actId="33524"/>
          <ac:graphicFrameMkLst>
            <pc:docMk/>
            <pc:sldMk cId="653286514" sldId="517"/>
            <ac:graphicFrameMk id="3" creationId="{00000000-0000-0000-0000-000000000000}"/>
          </ac:graphicFrameMkLst>
        </pc:graphicFrameChg>
      </pc:sldChg>
      <pc:sldChg chg="modSp">
        <pc:chgData name="Vallepalli, Thandava" userId="61f37ead-8e94-430f-ab46-1cf20f09dc50" providerId="ADAL" clId="{F4A39C6E-C66A-4241-8C79-17DA68C49427}" dt="2021-02-22T00:00:56.957" v="218" actId="20577"/>
        <pc:sldMkLst>
          <pc:docMk/>
          <pc:sldMk cId="1564247609" sldId="521"/>
        </pc:sldMkLst>
        <pc:spChg chg="mod">
          <ac:chgData name="Vallepalli, Thandava" userId="61f37ead-8e94-430f-ab46-1cf20f09dc50" providerId="ADAL" clId="{F4A39C6E-C66A-4241-8C79-17DA68C49427}" dt="2021-02-22T00:00:01.383" v="152" actId="1036"/>
          <ac:spMkLst>
            <pc:docMk/>
            <pc:sldMk cId="1564247609" sldId="521"/>
            <ac:spMk id="9" creationId="{00000000-0000-0000-0000-000000000000}"/>
          </ac:spMkLst>
        </pc:spChg>
        <pc:graphicFrameChg chg="mod">
          <ac:chgData name="Vallepalli, Thandava" userId="61f37ead-8e94-430f-ab46-1cf20f09dc50" providerId="ADAL" clId="{F4A39C6E-C66A-4241-8C79-17DA68C49427}" dt="2021-02-22T00:00:01.383" v="152" actId="1036"/>
          <ac:graphicFrameMkLst>
            <pc:docMk/>
            <pc:sldMk cId="1564247609" sldId="521"/>
            <ac:graphicFrameMk id="2" creationId="{EFE52470-BA62-49BF-A431-55C6BEED9B88}"/>
          </ac:graphicFrameMkLst>
        </pc:graphicFrameChg>
        <pc:graphicFrameChg chg="modGraphic">
          <ac:chgData name="Vallepalli, Thandava" userId="61f37ead-8e94-430f-ab46-1cf20f09dc50" providerId="ADAL" clId="{F4A39C6E-C66A-4241-8C79-17DA68C49427}" dt="2021-02-22T00:00:56.957" v="218" actId="20577"/>
          <ac:graphicFrameMkLst>
            <pc:docMk/>
            <pc:sldMk cId="1564247609" sldId="521"/>
            <ac:graphicFrameMk id="8" creationId="{00000000-0000-0000-0000-000000000000}"/>
          </ac:graphicFrameMkLst>
        </pc:graphicFrameChg>
        <pc:graphicFrameChg chg="mod">
          <ac:chgData name="Vallepalli, Thandava" userId="61f37ead-8e94-430f-ab46-1cf20f09dc50" providerId="ADAL" clId="{F4A39C6E-C66A-4241-8C79-17DA68C49427}" dt="2021-02-22T00:00:01.383" v="152" actId="1036"/>
          <ac:graphicFrameMkLst>
            <pc:docMk/>
            <pc:sldMk cId="1564247609" sldId="521"/>
            <ac:graphicFrameMk id="14" creationId="{621479E8-4FE9-439A-9215-AED21EBECF3E}"/>
          </ac:graphicFrameMkLst>
        </pc:graphicFrameChg>
      </pc:sldChg>
      <pc:sldChg chg="modSp">
        <pc:chgData name="Vallepalli, Thandava" userId="61f37ead-8e94-430f-ab46-1cf20f09dc50" providerId="ADAL" clId="{F4A39C6E-C66A-4241-8C79-17DA68C49427}" dt="2021-02-22T11:26:35.125" v="954" actId="20577"/>
        <pc:sldMkLst>
          <pc:docMk/>
          <pc:sldMk cId="954719197" sldId="626"/>
        </pc:sldMkLst>
        <pc:spChg chg="mod">
          <ac:chgData name="Vallepalli, Thandava" userId="61f37ead-8e94-430f-ab46-1cf20f09dc50" providerId="ADAL" clId="{F4A39C6E-C66A-4241-8C79-17DA68C49427}" dt="2021-02-22T11:04:51.191" v="845" actId="1036"/>
          <ac:spMkLst>
            <pc:docMk/>
            <pc:sldMk cId="954719197" sldId="626"/>
            <ac:spMk id="14" creationId="{42CEB9B9-2F85-DF45-8503-E62A6CF031DD}"/>
          </ac:spMkLst>
        </pc:spChg>
        <pc:spChg chg="mod">
          <ac:chgData name="Vallepalli, Thandava" userId="61f37ead-8e94-430f-ab46-1cf20f09dc50" providerId="ADAL" clId="{F4A39C6E-C66A-4241-8C79-17DA68C49427}" dt="2021-02-22T10:12:46.438" v="760" actId="20577"/>
          <ac:spMkLst>
            <pc:docMk/>
            <pc:sldMk cId="954719197" sldId="626"/>
            <ac:spMk id="15" creationId="{074C2DA8-19CE-D045-9434-5C5AB311BB25}"/>
          </ac:spMkLst>
        </pc:spChg>
        <pc:spChg chg="mod">
          <ac:chgData name="Vallepalli, Thandava" userId="61f37ead-8e94-430f-ab46-1cf20f09dc50" providerId="ADAL" clId="{F4A39C6E-C66A-4241-8C79-17DA68C49427}" dt="2021-02-22T11:26:35.125" v="954" actId="20577"/>
          <ac:spMkLst>
            <pc:docMk/>
            <pc:sldMk cId="954719197" sldId="626"/>
            <ac:spMk id="16" creationId="{36A79F1E-03AC-B642-8C06-6A7AF071D418}"/>
          </ac:spMkLst>
        </pc:spChg>
        <pc:spChg chg="mod">
          <ac:chgData name="Vallepalli, Thandava" userId="61f37ead-8e94-430f-ab46-1cf20f09dc50" providerId="ADAL" clId="{F4A39C6E-C66A-4241-8C79-17DA68C49427}" dt="2021-02-22T11:06:32.705" v="878" actId="20577"/>
          <ac:spMkLst>
            <pc:docMk/>
            <pc:sldMk cId="954719197" sldId="626"/>
            <ac:spMk id="17" creationId="{C4353D8C-2FE4-404C-B620-F2FDADF7A733}"/>
          </ac:spMkLst>
        </pc:spChg>
      </pc:sldChg>
      <pc:sldChg chg="addSp delSp">
        <pc:chgData name="Vallepalli, Thandava" userId="61f37ead-8e94-430f-ab46-1cf20f09dc50" providerId="ADAL" clId="{F4A39C6E-C66A-4241-8C79-17DA68C49427}" dt="2021-02-22T11:10:09.891" v="928"/>
        <pc:sldMkLst>
          <pc:docMk/>
          <pc:sldMk cId="2324831811" sldId="642"/>
        </pc:sldMkLst>
        <pc:picChg chg="add">
          <ac:chgData name="Vallepalli, Thandava" userId="61f37ead-8e94-430f-ab46-1cf20f09dc50" providerId="ADAL" clId="{F4A39C6E-C66A-4241-8C79-17DA68C49427}" dt="2021-02-22T11:10:09.891" v="928"/>
          <ac:picMkLst>
            <pc:docMk/>
            <pc:sldMk cId="2324831811" sldId="642"/>
            <ac:picMk id="3" creationId="{DA05FEDC-5EDD-42DB-AFF6-74D02DDD40D0}"/>
          </ac:picMkLst>
        </pc:picChg>
        <pc:picChg chg="del">
          <ac:chgData name="Vallepalli, Thandava" userId="61f37ead-8e94-430f-ab46-1cf20f09dc50" providerId="ADAL" clId="{F4A39C6E-C66A-4241-8C79-17DA68C49427}" dt="2021-02-22T11:10:08.226" v="927" actId="478"/>
          <ac:picMkLst>
            <pc:docMk/>
            <pc:sldMk cId="2324831811" sldId="642"/>
            <ac:picMk id="4" creationId="{57173D98-3895-473B-A93D-612AE690F8BB}"/>
          </ac:picMkLst>
        </pc:picChg>
      </pc:sldChg>
      <pc:sldChg chg="modSp ord">
        <pc:chgData name="Vallepalli, Thandava" userId="61f37ead-8e94-430f-ab46-1cf20f09dc50" providerId="ADAL" clId="{F4A39C6E-C66A-4241-8C79-17DA68C49427}" dt="2021-02-22T09:40:25.780" v="533"/>
        <pc:sldMkLst>
          <pc:docMk/>
          <pc:sldMk cId="2710755517" sldId="652"/>
        </pc:sldMkLst>
        <pc:spChg chg="mod">
          <ac:chgData name="Vallepalli, Thandava" userId="61f37ead-8e94-430f-ab46-1cf20f09dc50" providerId="ADAL" clId="{F4A39C6E-C66A-4241-8C79-17DA68C49427}" dt="2021-02-22T09:40:04.643" v="532" actId="20577"/>
          <ac:spMkLst>
            <pc:docMk/>
            <pc:sldMk cId="2710755517" sldId="652"/>
            <ac:spMk id="16" creationId="{36A79F1E-03AC-B642-8C06-6A7AF071D418}"/>
          </ac:spMkLst>
        </pc:spChg>
      </pc:sldChg>
      <pc:sldChg chg="addSp delSp modSp">
        <pc:chgData name="Vallepalli, Thandava" userId="61f37ead-8e94-430f-ab46-1cf20f09dc50" providerId="ADAL" clId="{F4A39C6E-C66A-4241-8C79-17DA68C49427}" dt="2021-02-22T11:39:05.855" v="998" actId="20577"/>
        <pc:sldMkLst>
          <pc:docMk/>
          <pc:sldMk cId="4267676092" sldId="653"/>
        </pc:sldMkLst>
        <pc:spChg chg="mod">
          <ac:chgData name="Vallepalli, Thandava" userId="61f37ead-8e94-430f-ab46-1cf20f09dc50" providerId="ADAL" clId="{F4A39C6E-C66A-4241-8C79-17DA68C49427}" dt="2021-02-22T03:06:44.103" v="322" actId="20577"/>
          <ac:spMkLst>
            <pc:docMk/>
            <pc:sldMk cId="4267676092" sldId="653"/>
            <ac:spMk id="2" creationId="{00000000-0000-0000-0000-000000000000}"/>
          </ac:spMkLst>
        </pc:spChg>
        <pc:spChg chg="mod">
          <ac:chgData name="Vallepalli, Thandava" userId="61f37ead-8e94-430f-ab46-1cf20f09dc50" providerId="ADAL" clId="{F4A39C6E-C66A-4241-8C79-17DA68C49427}" dt="2021-02-22T11:39:05.855" v="998" actId="20577"/>
          <ac:spMkLst>
            <pc:docMk/>
            <pc:sldMk cId="4267676092" sldId="653"/>
            <ac:spMk id="13" creationId="{DC998C0D-D063-47CC-AAE2-B51820FAD883}"/>
          </ac:spMkLst>
        </pc:spChg>
        <pc:spChg chg="mod">
          <ac:chgData name="Vallepalli, Thandava" userId="61f37ead-8e94-430f-ab46-1cf20f09dc50" providerId="ADAL" clId="{F4A39C6E-C66A-4241-8C79-17DA68C49427}" dt="2021-02-22T11:04:34.931" v="833" actId="1035"/>
          <ac:spMkLst>
            <pc:docMk/>
            <pc:sldMk cId="4267676092" sldId="653"/>
            <ac:spMk id="15" creationId="{C9333419-1ADE-4F28-A85C-E143E0607DBA}"/>
          </ac:spMkLst>
        </pc:spChg>
        <pc:spChg chg="mod">
          <ac:chgData name="Vallepalli, Thandava" userId="61f37ead-8e94-430f-ab46-1cf20f09dc50" providerId="ADAL" clId="{F4A39C6E-C66A-4241-8C79-17DA68C49427}" dt="2021-02-22T09:51:51.770" v="575" actId="1037"/>
          <ac:spMkLst>
            <pc:docMk/>
            <pc:sldMk cId="4267676092" sldId="653"/>
            <ac:spMk id="16" creationId="{8C33FF0A-EDC6-4F02-A52C-626646113D79}"/>
          </ac:spMkLst>
        </pc:spChg>
        <pc:spChg chg="mod">
          <ac:chgData name="Vallepalli, Thandava" userId="61f37ead-8e94-430f-ab46-1cf20f09dc50" providerId="ADAL" clId="{F4A39C6E-C66A-4241-8C79-17DA68C49427}" dt="2021-02-22T11:04:34.931" v="833" actId="1035"/>
          <ac:spMkLst>
            <pc:docMk/>
            <pc:sldMk cId="4267676092" sldId="653"/>
            <ac:spMk id="17" creationId="{B56D3D8D-66E2-403F-9DF7-B7E25E6EFCDA}"/>
          </ac:spMkLst>
        </pc:spChg>
        <pc:spChg chg="mod">
          <ac:chgData name="Vallepalli, Thandava" userId="61f37ead-8e94-430f-ab46-1cf20f09dc50" providerId="ADAL" clId="{F4A39C6E-C66A-4241-8C79-17DA68C49427}" dt="2021-02-22T09:51:51.770" v="575" actId="1037"/>
          <ac:spMkLst>
            <pc:docMk/>
            <pc:sldMk cId="4267676092" sldId="653"/>
            <ac:spMk id="20" creationId="{E9EF5B7C-8F40-4215-A025-7A211C17464E}"/>
          </ac:spMkLst>
        </pc:spChg>
        <pc:spChg chg="mod">
          <ac:chgData name="Vallepalli, Thandava" userId="61f37ead-8e94-430f-ab46-1cf20f09dc50" providerId="ADAL" clId="{F4A39C6E-C66A-4241-8C79-17DA68C49427}" dt="2021-02-22T09:51:51.770" v="575" actId="1037"/>
          <ac:spMkLst>
            <pc:docMk/>
            <pc:sldMk cId="4267676092" sldId="653"/>
            <ac:spMk id="22" creationId="{92369CFD-B456-43F3-97B3-47E1CB095C19}"/>
          </ac:spMkLst>
        </pc:spChg>
        <pc:picChg chg="add del">
          <ac:chgData name="Vallepalli, Thandava" userId="61f37ead-8e94-430f-ab46-1cf20f09dc50" providerId="ADAL" clId="{F4A39C6E-C66A-4241-8C79-17DA68C49427}" dt="2021-02-22T02:55:23.494" v="308" actId="478"/>
          <ac:picMkLst>
            <pc:docMk/>
            <pc:sldMk cId="4267676092" sldId="653"/>
            <ac:picMk id="3" creationId="{EBD0BDA0-DFF6-44E6-BBBF-3FEEE3DE9800}"/>
          </ac:picMkLst>
        </pc:picChg>
        <pc:picChg chg="del mod">
          <ac:chgData name="Vallepalli, Thandava" userId="61f37ead-8e94-430f-ab46-1cf20f09dc50" providerId="ADAL" clId="{F4A39C6E-C66A-4241-8C79-17DA68C49427}" dt="2021-02-22T09:49:54.329" v="536" actId="478"/>
          <ac:picMkLst>
            <pc:docMk/>
            <pc:sldMk cId="4267676092" sldId="653"/>
            <ac:picMk id="3" creationId="{F5718515-462C-4B0F-B72C-B1CFAEB44762}"/>
          </ac:picMkLst>
        </pc:picChg>
        <pc:picChg chg="add del mod">
          <ac:chgData name="Vallepalli, Thandava" userId="61f37ead-8e94-430f-ab46-1cf20f09dc50" providerId="ADAL" clId="{F4A39C6E-C66A-4241-8C79-17DA68C49427}" dt="2021-02-22T03:05:40.692" v="317" actId="478"/>
          <ac:picMkLst>
            <pc:docMk/>
            <pc:sldMk cId="4267676092" sldId="653"/>
            <ac:picMk id="4" creationId="{0B56DECE-F325-4BB1-94E4-274541474C58}"/>
          </ac:picMkLst>
        </pc:picChg>
        <pc:picChg chg="add del mod">
          <ac:chgData name="Vallepalli, Thandava" userId="61f37ead-8e94-430f-ab46-1cf20f09dc50" providerId="ADAL" clId="{F4A39C6E-C66A-4241-8C79-17DA68C49427}" dt="2021-02-22T11:03:20.958" v="774" actId="478"/>
          <ac:picMkLst>
            <pc:docMk/>
            <pc:sldMk cId="4267676092" sldId="653"/>
            <ac:picMk id="4" creationId="{ADEAAF8B-266E-43DF-9610-A0DB64C545F0}"/>
          </ac:picMkLst>
        </pc:picChg>
        <pc:picChg chg="add mod">
          <ac:chgData name="Vallepalli, Thandava" userId="61f37ead-8e94-430f-ab46-1cf20f09dc50" providerId="ADAL" clId="{F4A39C6E-C66A-4241-8C79-17DA68C49427}" dt="2021-02-22T03:13:29.402" v="328" actId="14100"/>
          <ac:picMkLst>
            <pc:docMk/>
            <pc:sldMk cId="4267676092" sldId="653"/>
            <ac:picMk id="5" creationId="{902798F0-44FE-420C-8B62-11AB0C26BB53}"/>
          </ac:picMkLst>
        </pc:picChg>
        <pc:picChg chg="add mod">
          <ac:chgData name="Vallepalli, Thandava" userId="61f37ead-8e94-430f-ab46-1cf20f09dc50" providerId="ADAL" clId="{F4A39C6E-C66A-4241-8C79-17DA68C49427}" dt="2021-02-22T11:03:29.681" v="777" actId="14100"/>
          <ac:picMkLst>
            <pc:docMk/>
            <pc:sldMk cId="4267676092" sldId="653"/>
            <ac:picMk id="6" creationId="{CD7D3321-AC60-4C97-8299-CE77A40BC32F}"/>
          </ac:picMkLst>
        </pc:picChg>
        <pc:picChg chg="del">
          <ac:chgData name="Vallepalli, Thandava" userId="61f37ead-8e94-430f-ab46-1cf20f09dc50" providerId="ADAL" clId="{F4A39C6E-C66A-4241-8C79-17DA68C49427}" dt="2021-02-22T02:52:38.760" v="286" actId="478"/>
          <ac:picMkLst>
            <pc:docMk/>
            <pc:sldMk cId="4267676092" sldId="653"/>
            <ac:picMk id="8" creationId="{84388DF0-FABA-4BE1-B470-8C98F26896E1}"/>
          </ac:picMkLst>
        </pc:picChg>
      </pc:sldChg>
      <pc:sldChg chg="ord">
        <pc:chgData name="Vallepalli, Thandava" userId="61f37ead-8e94-430f-ab46-1cf20f09dc50" providerId="ADAL" clId="{F4A39C6E-C66A-4241-8C79-17DA68C49427}" dt="2021-02-22T10:09:00.178" v="745"/>
        <pc:sldMkLst>
          <pc:docMk/>
          <pc:sldMk cId="117768655" sldId="655"/>
        </pc:sldMkLst>
      </pc:sldChg>
      <pc:sldChg chg="ord">
        <pc:chgData name="Vallepalli, Thandava" userId="61f37ead-8e94-430f-ab46-1cf20f09dc50" providerId="ADAL" clId="{F4A39C6E-C66A-4241-8C79-17DA68C49427}" dt="2021-02-22T10:10:01.876" v="746"/>
        <pc:sldMkLst>
          <pc:docMk/>
          <pc:sldMk cId="3890558902" sldId="660"/>
        </pc:sldMkLst>
      </pc:sldChg>
      <pc:sldChg chg="del">
        <pc:chgData name="Vallepalli, Thandava" userId="61f37ead-8e94-430f-ab46-1cf20f09dc50" providerId="ADAL" clId="{F4A39C6E-C66A-4241-8C79-17DA68C49427}" dt="2021-02-22T02:57:46.186" v="316" actId="2696"/>
        <pc:sldMkLst>
          <pc:docMk/>
          <pc:sldMk cId="3520330381" sldId="665"/>
        </pc:sldMkLst>
      </pc:sldChg>
      <pc:sldChg chg="addSp delSp modSp add">
        <pc:chgData name="Vallepalli, Thandava" userId="61f37ead-8e94-430f-ab46-1cf20f09dc50" providerId="ADAL" clId="{F4A39C6E-C66A-4241-8C79-17DA68C49427}" dt="2021-02-21T16:01:44.080" v="18" actId="20577"/>
        <pc:sldMkLst>
          <pc:docMk/>
          <pc:sldMk cId="3999089336" sldId="666"/>
        </pc:sldMkLst>
        <pc:spChg chg="mod">
          <ac:chgData name="Vallepalli, Thandava" userId="61f37ead-8e94-430f-ab46-1cf20f09dc50" providerId="ADAL" clId="{F4A39C6E-C66A-4241-8C79-17DA68C49427}" dt="2021-02-21T16:01:44.080" v="18" actId="20577"/>
          <ac:spMkLst>
            <pc:docMk/>
            <pc:sldMk cId="3999089336" sldId="666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F4A39C6E-C66A-4241-8C79-17DA68C49427}" dt="2021-02-21T16:01:33.944" v="1" actId="478"/>
          <ac:picMkLst>
            <pc:docMk/>
            <pc:sldMk cId="3999089336" sldId="666"/>
            <ac:picMk id="3" creationId="{6D944D10-05FA-4BE4-965E-33D44402B7F2}"/>
          </ac:picMkLst>
        </pc:picChg>
        <pc:picChg chg="add">
          <ac:chgData name="Vallepalli, Thandava" userId="61f37ead-8e94-430f-ab46-1cf20f09dc50" providerId="ADAL" clId="{F4A39C6E-C66A-4241-8C79-17DA68C49427}" dt="2021-02-21T16:01:35.246" v="2"/>
          <ac:picMkLst>
            <pc:docMk/>
            <pc:sldMk cId="3999089336" sldId="666"/>
            <ac:picMk id="4" creationId="{E7136A5B-0D60-4474-A411-B8A319D8AE40}"/>
          </ac:picMkLst>
        </pc:picChg>
      </pc:sldChg>
      <pc:sldChg chg="addSp delSp modSp add">
        <pc:chgData name="Vallepalli, Thandava" userId="61f37ead-8e94-430f-ab46-1cf20f09dc50" providerId="ADAL" clId="{F4A39C6E-C66A-4241-8C79-17DA68C49427}" dt="2021-02-22T11:16:09.108" v="937" actId="20577"/>
        <pc:sldMkLst>
          <pc:docMk/>
          <pc:sldMk cId="3821610941" sldId="667"/>
        </pc:sldMkLst>
        <pc:spChg chg="mod">
          <ac:chgData name="Vallepalli, Thandava" userId="61f37ead-8e94-430f-ab46-1cf20f09dc50" providerId="ADAL" clId="{F4A39C6E-C66A-4241-8C79-17DA68C49427}" dt="2021-02-22T11:16:09.108" v="937" actId="20577"/>
          <ac:spMkLst>
            <pc:docMk/>
            <pc:sldMk cId="3821610941" sldId="667"/>
            <ac:spMk id="2" creationId="{00000000-0000-0000-0000-000000000000}"/>
          </ac:spMkLst>
        </pc:spChg>
        <pc:picChg chg="add mod">
          <ac:chgData name="Vallepalli, Thandava" userId="61f37ead-8e94-430f-ab46-1cf20f09dc50" providerId="ADAL" clId="{F4A39C6E-C66A-4241-8C79-17DA68C49427}" dt="2021-02-21T16:18:38.930" v="25" actId="1076"/>
          <ac:picMkLst>
            <pc:docMk/>
            <pc:sldMk cId="3821610941" sldId="667"/>
            <ac:picMk id="3" creationId="{BD1BA32A-7471-4356-B3E7-C20BE18973FF}"/>
          </ac:picMkLst>
        </pc:picChg>
        <pc:picChg chg="del">
          <ac:chgData name="Vallepalli, Thandava" userId="61f37ead-8e94-430f-ab46-1cf20f09dc50" providerId="ADAL" clId="{F4A39C6E-C66A-4241-8C79-17DA68C49427}" dt="2021-02-21T16:02:19.867" v="20" actId="478"/>
          <ac:picMkLst>
            <pc:docMk/>
            <pc:sldMk cId="3821610941" sldId="667"/>
            <ac:picMk id="4" creationId="{57173D98-3895-473B-A93D-612AE690F8BB}"/>
          </ac:picMkLst>
        </pc:picChg>
      </pc:sldChg>
      <pc:sldChg chg="addSp delSp modSp add">
        <pc:chgData name="Vallepalli, Thandava" userId="61f37ead-8e94-430f-ab46-1cf20f09dc50" providerId="ADAL" clId="{F4A39C6E-C66A-4241-8C79-17DA68C49427}" dt="2021-02-21T16:22:39.490" v="92" actId="1076"/>
        <pc:sldMkLst>
          <pc:docMk/>
          <pc:sldMk cId="204061167" sldId="668"/>
        </pc:sldMkLst>
        <pc:spChg chg="mod">
          <ac:chgData name="Vallepalli, Thandava" userId="61f37ead-8e94-430f-ab46-1cf20f09dc50" providerId="ADAL" clId="{F4A39C6E-C66A-4241-8C79-17DA68C49427}" dt="2021-02-21T16:22:20.956" v="86" actId="20577"/>
          <ac:spMkLst>
            <pc:docMk/>
            <pc:sldMk cId="204061167" sldId="668"/>
            <ac:spMk id="2" creationId="{00000000-0000-0000-0000-000000000000}"/>
          </ac:spMkLst>
        </pc:spChg>
        <pc:picChg chg="del">
          <ac:chgData name="Vallepalli, Thandava" userId="61f37ead-8e94-430f-ab46-1cf20f09dc50" providerId="ADAL" clId="{F4A39C6E-C66A-4241-8C79-17DA68C49427}" dt="2021-02-21T16:22:23.180" v="87" actId="478"/>
          <ac:picMkLst>
            <pc:docMk/>
            <pc:sldMk cId="204061167" sldId="668"/>
            <ac:picMk id="3" creationId="{BD1BA32A-7471-4356-B3E7-C20BE18973FF}"/>
          </ac:picMkLst>
        </pc:picChg>
        <pc:picChg chg="add mod">
          <ac:chgData name="Vallepalli, Thandava" userId="61f37ead-8e94-430f-ab46-1cf20f09dc50" providerId="ADAL" clId="{F4A39C6E-C66A-4241-8C79-17DA68C49427}" dt="2021-02-21T16:22:39.490" v="92" actId="1076"/>
          <ac:picMkLst>
            <pc:docMk/>
            <pc:sldMk cId="204061167" sldId="668"/>
            <ac:picMk id="4" creationId="{6D07E6D8-6F60-4997-B077-77B01408AE36}"/>
          </ac:picMkLst>
        </pc:picChg>
      </pc:sldChg>
      <pc:sldChg chg="add ord">
        <pc:chgData name="Vallepalli, Thandava" userId="61f37ead-8e94-430f-ab46-1cf20f09dc50" providerId="ADAL" clId="{F4A39C6E-C66A-4241-8C79-17DA68C49427}" dt="2021-02-22T02:57:36.818" v="315"/>
        <pc:sldMkLst>
          <pc:docMk/>
          <pc:sldMk cId="2513344895" sldId="669"/>
        </pc:sldMkLst>
      </pc:sldChg>
      <pc:sldChg chg="addSp delSp modSp add">
        <pc:chgData name="Vallepalli, Thandava" userId="61f37ead-8e94-430f-ab46-1cf20f09dc50" providerId="ADAL" clId="{F4A39C6E-C66A-4241-8C79-17DA68C49427}" dt="2021-02-22T11:08:57.773" v="926" actId="1036"/>
        <pc:sldMkLst>
          <pc:docMk/>
          <pc:sldMk cId="3443385220" sldId="670"/>
        </pc:sldMkLst>
        <pc:spChg chg="mod">
          <ac:chgData name="Vallepalli, Thandava" userId="61f37ead-8e94-430f-ab46-1cf20f09dc50" providerId="ADAL" clId="{F4A39C6E-C66A-4241-8C79-17DA68C49427}" dt="2021-02-22T11:08:32.719" v="900" actId="20577"/>
          <ac:spMkLst>
            <pc:docMk/>
            <pc:sldMk cId="3443385220" sldId="670"/>
            <ac:spMk id="2" creationId="{00000000-0000-0000-0000-000000000000}"/>
          </ac:spMkLst>
        </pc:spChg>
        <pc:picChg chg="add mod">
          <ac:chgData name="Vallepalli, Thandava" userId="61f37ead-8e94-430f-ab46-1cf20f09dc50" providerId="ADAL" clId="{F4A39C6E-C66A-4241-8C79-17DA68C49427}" dt="2021-02-22T11:08:57.773" v="926" actId="1036"/>
          <ac:picMkLst>
            <pc:docMk/>
            <pc:sldMk cId="3443385220" sldId="670"/>
            <ac:picMk id="3" creationId="{75AED261-6964-4402-AE94-00766BB496A1}"/>
          </ac:picMkLst>
        </pc:picChg>
        <pc:picChg chg="del">
          <ac:chgData name="Vallepalli, Thandava" userId="61f37ead-8e94-430f-ab46-1cf20f09dc50" providerId="ADAL" clId="{F4A39C6E-C66A-4241-8C79-17DA68C49427}" dt="2021-02-22T11:08:50.479" v="901" actId="478"/>
          <ac:picMkLst>
            <pc:docMk/>
            <pc:sldMk cId="3443385220" sldId="670"/>
            <ac:picMk id="4" creationId="{8B1D3739-47F9-4014-A702-35B396150AB6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3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61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21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pPr marL="0" lv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289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B66BFC-05B2-BE48-B31E-320472CAEB53}"/>
              </a:ext>
            </a:extLst>
          </p:cNvPr>
          <p:cNvGrpSpPr/>
          <p:nvPr userDrawn="1"/>
        </p:nvGrpSpPr>
        <p:grpSpPr>
          <a:xfrm>
            <a:off x="469901" y="1344706"/>
            <a:ext cx="11363512" cy="430306"/>
            <a:chOff x="469900" y="1344706"/>
            <a:chExt cx="12735111" cy="43030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66672E5-2C03-6B46-81F0-4953F314914B}"/>
                </a:ext>
              </a:extLst>
            </p:cNvPr>
            <p:cNvSpPr/>
            <p:nvPr/>
          </p:nvSpPr>
          <p:spPr bwMode="gray">
            <a:xfrm>
              <a:off x="469900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60BB614-A8C4-F047-9CB3-4EECA0399862}"/>
                </a:ext>
              </a:extLst>
            </p:cNvPr>
            <p:cNvSpPr/>
            <p:nvPr/>
          </p:nvSpPr>
          <p:spPr bwMode="gray">
            <a:xfrm>
              <a:off x="3692712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B870C01-EBB7-1A4A-B322-D3002F0C040F}"/>
                </a:ext>
              </a:extLst>
            </p:cNvPr>
            <p:cNvSpPr/>
            <p:nvPr/>
          </p:nvSpPr>
          <p:spPr bwMode="gray">
            <a:xfrm>
              <a:off x="6915524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8D7EDD3-F4E6-874E-888E-3B48CFFF5392}"/>
                </a:ext>
              </a:extLst>
            </p:cNvPr>
            <p:cNvSpPr/>
            <p:nvPr/>
          </p:nvSpPr>
          <p:spPr bwMode="gray">
            <a:xfrm>
              <a:off x="10138335" y="1344706"/>
              <a:ext cx="3066676" cy="430306"/>
            </a:xfrm>
            <a:prstGeom prst="rect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BB39242-F844-E54D-8935-2F477844FFB9}"/>
              </a:ext>
            </a:extLst>
          </p:cNvPr>
          <p:cNvGrpSpPr/>
          <p:nvPr userDrawn="1"/>
        </p:nvGrpSpPr>
        <p:grpSpPr>
          <a:xfrm>
            <a:off x="469901" y="1882587"/>
            <a:ext cx="11363512" cy="4276165"/>
            <a:chOff x="469900" y="1344706"/>
            <a:chExt cx="12735111" cy="430306"/>
          </a:xfrm>
          <a:solidFill>
            <a:schemeClr val="bg1">
              <a:lumMod val="95000"/>
            </a:schemeClr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B68DAC4-E1B3-6643-BD8D-A12289FA419E}"/>
                </a:ext>
              </a:extLst>
            </p:cNvPr>
            <p:cNvSpPr/>
            <p:nvPr/>
          </p:nvSpPr>
          <p:spPr bwMode="gray">
            <a:xfrm>
              <a:off x="469900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30F5CC0-C4C6-7541-A493-52FC96B0D72D}"/>
                </a:ext>
              </a:extLst>
            </p:cNvPr>
            <p:cNvSpPr/>
            <p:nvPr/>
          </p:nvSpPr>
          <p:spPr bwMode="gray">
            <a:xfrm>
              <a:off x="3692712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6D4033-C19F-DF47-A7DC-5172064E9F76}"/>
                </a:ext>
              </a:extLst>
            </p:cNvPr>
            <p:cNvSpPr/>
            <p:nvPr/>
          </p:nvSpPr>
          <p:spPr bwMode="gray">
            <a:xfrm>
              <a:off x="6915524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ADFCC09-BAD3-4F43-9009-EE77AEFC7F57}"/>
                </a:ext>
              </a:extLst>
            </p:cNvPr>
            <p:cNvSpPr/>
            <p:nvPr/>
          </p:nvSpPr>
          <p:spPr bwMode="gray">
            <a:xfrm>
              <a:off x="10138335" y="1344706"/>
              <a:ext cx="3066676" cy="4303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099397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AB53C7-4B3F-C04C-9A59-717DE2D19F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50117"/>
          <a:stretch/>
        </p:blipFill>
        <p:spPr>
          <a:xfrm>
            <a:off x="6682901" y="0"/>
            <a:ext cx="5509099" cy="685110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20D447-8B40-FF45-A477-DB25F9C2D210}"/>
              </a:ext>
            </a:extLst>
          </p:cNvPr>
          <p:cNvSpPr/>
          <p:nvPr userDrawn="1"/>
        </p:nvSpPr>
        <p:spPr bwMode="gray">
          <a:xfrm>
            <a:off x="469900" y="992221"/>
            <a:ext cx="8440636" cy="4435564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91973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5"/>
            <a:ext cx="11184000" cy="9901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2928"/>
            <a:ext cx="11184000" cy="4545033"/>
          </a:xfrm>
        </p:spPr>
        <p:txBody>
          <a:bodyPr/>
          <a:lstStyle>
            <a:lvl1pPr marL="0" indent="0" algn="l">
              <a:buNone/>
              <a:defRPr/>
            </a:lvl1pPr>
            <a:lvl2pPr marL="267327" indent="-267327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83161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B0E1E59-3164-4277-896B-7FF33DAE1B43}" type="datetimeFigureOut">
              <a:rPr lang="en-US" smtClean="0"/>
              <a:t>10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FC02BCA-AC9C-4C8F-A8A4-B7A4172394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69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290" y="1452172"/>
            <a:ext cx="11230029" cy="4915671"/>
          </a:xfrm>
        </p:spPr>
        <p:txBody>
          <a:bodyPr/>
          <a:lstStyle>
            <a:lvl1pPr marL="343203" marR="0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pitchFamily="34" charset="0"/>
              <a:buChar char="•"/>
              <a:tabLst/>
              <a:defRPr sz="1800">
                <a:solidFill>
                  <a:srgbClr val="002060"/>
                </a:solidFill>
              </a:defRPr>
            </a:lvl1pPr>
          </a:lstStyle>
          <a:p>
            <a:pPr marL="343203" marR="0" lvl="0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343203" marR="0" lvl="1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Second level</a:t>
            </a:r>
          </a:p>
          <a:p>
            <a:pPr marL="343203" marR="0" lvl="2" indent="-343203" algn="l" defTabSz="91425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269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Third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91584" y="381001"/>
            <a:ext cx="11190817" cy="685800"/>
          </a:xfrm>
        </p:spPr>
        <p:txBody>
          <a:bodyPr/>
          <a:lstStyle>
            <a:lvl1pPr algn="l">
              <a:defRPr sz="2400" b="1">
                <a:solidFill>
                  <a:srgbClr val="0070C0"/>
                </a:solidFill>
              </a:defRPr>
            </a:lvl1pPr>
          </a:lstStyle>
          <a:p>
            <a:pPr algn="l"/>
            <a:r>
              <a:rPr lang="en-US" sz="360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Title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4" y="914400"/>
            <a:ext cx="11267017" cy="5334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665505597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831158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5737752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2978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32550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693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840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8186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5949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114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23807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65898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99691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1990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08769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996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2207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0692976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204863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544646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738432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813283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220694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574471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790533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12766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78855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568207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933703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591086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564096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58130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475645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7488706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837806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578780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463332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0645339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918161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097671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82665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8508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803" r:id="rId40"/>
    <p:sldLayoutId id="2147483802" r:id="rId41"/>
    <p:sldLayoutId id="2147483696" r:id="rId42"/>
    <p:sldLayoutId id="2147483800" r:id="rId43"/>
    <p:sldLayoutId id="2147483804" r:id="rId44"/>
    <p:sldLayoutId id="2147483805" r:id="rId4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444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  <p:sldLayoutId id="2147483793" r:id="rId35"/>
    <p:sldLayoutId id="2147483794" r:id="rId36"/>
    <p:sldLayoutId id="2147483795" r:id="rId37"/>
    <p:sldLayoutId id="2147483796" r:id="rId38"/>
    <p:sldLayoutId id="2147483797" r:id="rId39"/>
    <p:sldLayoutId id="2147483798" r:id="rId40"/>
    <p:sldLayoutId id="2147483799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idx="4294967295"/>
          </p:nvPr>
        </p:nvSpPr>
        <p:spPr>
          <a:xfrm>
            <a:off x="475200" y="5530390"/>
            <a:ext cx="5592012" cy="324000"/>
          </a:xfrm>
        </p:spPr>
        <p:txBody>
          <a:bodyPr/>
          <a:lstStyle/>
          <a:p>
            <a:r>
              <a:rPr lang="en-US" noProof="0"/>
              <a:t>Headline Verdana Bold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1" y="5307160"/>
            <a:ext cx="5592011" cy="820435"/>
          </a:xfrm>
        </p:spPr>
        <p:txBody>
          <a:bodyPr/>
          <a:lstStyle/>
          <a:p>
            <a:r>
              <a:rPr lang="en-US" dirty="0"/>
              <a:t>AI Batch J Group 1</a:t>
            </a:r>
            <a:br>
              <a:rPr lang="en-US" dirty="0"/>
            </a:br>
            <a:endParaRPr lang="en-US" sz="12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201599"/>
            <a:ext cx="5594349" cy="298451"/>
          </a:xfrm>
        </p:spPr>
        <p:txBody>
          <a:bodyPr/>
          <a:lstStyle/>
          <a:p>
            <a:r>
              <a:rPr lang="en-US" dirty="0"/>
              <a:t>Presented on 10/18/2021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5F141BE-784C-497E-A03D-094788DFD0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341" r="15422"/>
          <a:stretch/>
        </p:blipFill>
        <p:spPr>
          <a:xfrm>
            <a:off x="3825781" y="1003610"/>
            <a:ext cx="4540437" cy="4831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0198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72A4E72F-2BB0-4315-B27B-15118D511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148" y="99737"/>
            <a:ext cx="4314704" cy="337119"/>
          </a:xfrm>
        </p:spPr>
        <p:txBody>
          <a:bodyPr/>
          <a:lstStyle/>
          <a:p>
            <a:r>
              <a:rPr lang="en-US" b="1"/>
              <a:t>DNAV Architec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CCF8F9-6D87-4B57-AFB2-D0DB21163648}"/>
              </a:ext>
            </a:extLst>
          </p:cNvPr>
          <p:cNvSpPr>
            <a:spLocks/>
          </p:cNvSpPr>
          <p:nvPr/>
        </p:nvSpPr>
        <p:spPr>
          <a:xfrm>
            <a:off x="590483" y="3264195"/>
            <a:ext cx="1937920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Yata Bhavani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849517C-AB6E-4A38-94F0-67AC7420C711}"/>
              </a:ext>
            </a:extLst>
          </p:cNvPr>
          <p:cNvSpPr>
            <a:spLocks/>
          </p:cNvSpPr>
          <p:nvPr/>
        </p:nvSpPr>
        <p:spPr>
          <a:xfrm>
            <a:off x="1667375" y="6471595"/>
            <a:ext cx="1937920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Venkata Rama Krishna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3E39EE3-5F6D-4370-A39D-0965F85975B4}"/>
              </a:ext>
            </a:extLst>
          </p:cNvPr>
          <p:cNvSpPr>
            <a:spLocks/>
          </p:cNvSpPr>
          <p:nvPr/>
        </p:nvSpPr>
        <p:spPr>
          <a:xfrm>
            <a:off x="6988073" y="6565763"/>
            <a:ext cx="1527725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Sunny, Clint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039633C-DF39-4759-BBAD-22784D6C74E9}"/>
              </a:ext>
            </a:extLst>
          </p:cNvPr>
          <p:cNvSpPr>
            <a:spLocks/>
          </p:cNvSpPr>
          <p:nvPr/>
        </p:nvSpPr>
        <p:spPr>
          <a:xfrm>
            <a:off x="4530315" y="3307081"/>
            <a:ext cx="180474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Ashok Thotakura</a:t>
            </a:r>
            <a:br>
              <a:rPr lang="en-US" sz="1200" dirty="0"/>
            </a:br>
            <a:endParaRPr lang="en-US" sz="1200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CBFCF56-EE7A-4E95-9727-34C07A9715A7}"/>
              </a:ext>
            </a:extLst>
          </p:cNvPr>
          <p:cNvSpPr>
            <a:spLocks/>
          </p:cNvSpPr>
          <p:nvPr/>
        </p:nvSpPr>
        <p:spPr>
          <a:xfrm>
            <a:off x="8120464" y="3356667"/>
            <a:ext cx="1993202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Kumar, Pradip</a:t>
            </a:r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id="{1083FCE6-8AF2-4565-B3AC-CB397DA5A8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852" y="453354"/>
            <a:ext cx="2295061" cy="2780360"/>
          </a:xfrm>
          <a:prstGeom prst="rect">
            <a:avLst/>
          </a:prstGeom>
        </p:spPr>
      </p:pic>
      <p:pic>
        <p:nvPicPr>
          <p:cNvPr id="50178" name="Picture 2">
            <a:extLst>
              <a:ext uri="{FF2B5EF4-FFF2-40B4-BE49-F238E27FC236}">
                <a16:creationId xmlns:a16="http://schemas.microsoft.com/office/drawing/2014/main" id="{4FD35AE8-2E64-4445-9C6B-5ACAA9278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97" y="403626"/>
            <a:ext cx="2666884" cy="266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0" name="Picture 4">
            <a:extLst>
              <a:ext uri="{FF2B5EF4-FFF2-40B4-BE49-F238E27FC236}">
                <a16:creationId xmlns:a16="http://schemas.microsoft.com/office/drawing/2014/main" id="{7882B9EB-6233-44F4-AEA5-2E862971AA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936" y="572866"/>
            <a:ext cx="2699869" cy="2699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2" name="Picture 6">
            <a:extLst>
              <a:ext uri="{FF2B5EF4-FFF2-40B4-BE49-F238E27FC236}">
                <a16:creationId xmlns:a16="http://schemas.microsoft.com/office/drawing/2014/main" id="{2747A34D-9208-411E-859F-7BAF23074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538" y="3754507"/>
            <a:ext cx="2699868" cy="269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4" name="Picture 8">
            <a:extLst>
              <a:ext uri="{FF2B5EF4-FFF2-40B4-BE49-F238E27FC236}">
                <a16:creationId xmlns:a16="http://schemas.microsoft.com/office/drawing/2014/main" id="{DFC3ACC7-DC30-4B97-9418-A48B0C542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4343" y="3805180"/>
            <a:ext cx="2699868" cy="269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661618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8502"/>
            <a:ext cx="11252200" cy="343869"/>
          </a:xfrm>
        </p:spPr>
        <p:txBody>
          <a:bodyPr/>
          <a:lstStyle/>
          <a:p>
            <a:r>
              <a:rPr lang="en-US" b="1" dirty="0"/>
              <a:t>ER Diagra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C343419-FBA6-4A06-8253-A5CC6618D4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5849" y="0"/>
            <a:ext cx="87203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56180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AR 2.0 Brand Compliant Template  -  Read-Only" id="{BD76CE9A-4042-684C-AD4C-60A5865922D1}" vid="{0888EF74-1A4A-4142-B4F5-332C42AA9A80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AR 2.0 Brand Compliant Template  -  Read-Only" id="{BD76CE9A-4042-684C-AD4C-60A5865922D1}" vid="{B3EA4A3A-929D-AC44-A6CB-7F0F8A7F341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C5A39E1486F64EA9D66E203467EDB1" ma:contentTypeVersion="13" ma:contentTypeDescription="Create a new document." ma:contentTypeScope="" ma:versionID="eb8b60c51e1fbacf1049d19d7cfc29bc">
  <xsd:schema xmlns:xsd="http://www.w3.org/2001/XMLSchema" xmlns:xs="http://www.w3.org/2001/XMLSchema" xmlns:p="http://schemas.microsoft.com/office/2006/metadata/properties" xmlns:ns2="d98ff45e-ee51-48ce-a76f-c794564bf103" xmlns:ns3="2fc7a7fa-a820-4e7f-a8e6-aa49fcfbf9eb" targetNamespace="http://schemas.microsoft.com/office/2006/metadata/properties" ma:root="true" ma:fieldsID="ec8b05871410499d2f90c4130684d7ce" ns2:_="" ns3:_="">
    <xsd:import namespace="d98ff45e-ee51-48ce-a76f-c794564bf103"/>
    <xsd:import namespace="2fc7a7fa-a820-4e7f-a8e6-aa49fcfbf9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8ff45e-ee51-48ce-a76f-c794564bf1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c7a7fa-a820-4e7f-a8e6-aa49fcfbf9e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fc7a7fa-a820-4e7f-a8e6-aa49fcfbf9eb">
      <UserInfo>
        <DisplayName>Pulavar, Arockia Camillus</DisplayName>
        <AccountId>168</AccountId>
        <AccountType/>
      </UserInfo>
      <UserInfo>
        <DisplayName>Kelley, Gary P</DisplayName>
        <AccountId>169</AccountId>
        <AccountType/>
      </UserInfo>
      <UserInfo>
        <DisplayName>Hills, John</DisplayName>
        <AccountId>170</AccountId>
        <AccountType/>
      </UserInfo>
      <UserInfo>
        <DisplayName>Vallepalli, Thandava</DisplayName>
        <AccountId>49</AccountId>
        <AccountType/>
      </UserInfo>
    </SharedWithUsers>
    <_Flow_SignoffStatus xmlns="d98ff45e-ee51-48ce-a76f-c794564bf1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1EF7211-A599-4692-A1C0-0BE0F5E6C702}">
  <ds:schemaRefs>
    <ds:schemaRef ds:uri="2fc7a7fa-a820-4e7f-a8e6-aa49fcfbf9eb"/>
    <ds:schemaRef ds:uri="d98ff45e-ee51-48ce-a76f-c794564bf1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0B3F39C-6B0E-48C8-88CD-7DD6A8E665E7}">
  <ds:schemaRefs>
    <ds:schemaRef ds:uri="2fc7a7fa-a820-4e7f-a8e6-aa49fcfbf9eb"/>
    <ds:schemaRef ds:uri="d98ff45e-ee51-48ce-a76f-c794564bf10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92A543A-980C-4C20-A693-B468B0883F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R 2.0 Template</Template>
  <TotalTime>5</TotalTime>
  <Words>33</Words>
  <Application>Microsoft Office PowerPoint</Application>
  <PresentationFormat>Widescreen</PresentationFormat>
  <Paragraphs>1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Verdana</vt:lpstr>
      <vt:lpstr>Wingdings 2</vt:lpstr>
      <vt:lpstr>Deloitte_US_Onscreen</vt:lpstr>
      <vt:lpstr>1_Deloitte_US_Onscreen</vt:lpstr>
      <vt:lpstr>think-cell Slide</vt:lpstr>
      <vt:lpstr>Headline Verdana Bold</vt:lpstr>
      <vt:lpstr>DNAV Architects</vt:lpstr>
      <vt:lpstr>ER Diagr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1 Proposed Architecture Review Template 2.0.pptx</dc:title>
  <dc:creator>garykelley@deloitte.com;jhills@DELOITTE.com;mnorton@deloitte.com;apulavar@deloitte.com;rmarsal@deloitte.com;sjeyaprakash@deloitte.com;tvallepalli@deloitte.com</dc:creator>
  <cp:keywords>PAR</cp:keywords>
  <cp:lastModifiedBy>Thotakura, Ashok</cp:lastModifiedBy>
  <cp:revision>5</cp:revision>
  <dcterms:created xsi:type="dcterms:W3CDTF">2019-05-08T15:06:38Z</dcterms:created>
  <dcterms:modified xsi:type="dcterms:W3CDTF">2021-10-13T10:35:53Z</dcterms:modified>
  <cp:category>Architectur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C5A39E1486F64EA9D66E203467EDB1</vt:lpwstr>
  </property>
  <property fmtid="{D5CDD505-2E9C-101B-9397-08002B2CF9AE}" pid="3" name="_dlc_DocIdItemGuid">
    <vt:lpwstr>ce47371f-d5a9-47a1-9329-3c0a5ad3969b</vt:lpwstr>
  </property>
  <property fmtid="{D5CDD505-2E9C-101B-9397-08002B2CF9AE}" pid="4" name="AuthorUserName">
    <vt:lpwstr>tvallepalli</vt:lpwstr>
  </property>
  <property fmtid="{D5CDD505-2E9C-101B-9397-08002B2CF9AE}" pid="5" name="AuthorIds_UIVersion_512">
    <vt:lpwstr>24</vt:lpwstr>
  </property>
  <property fmtid="{D5CDD505-2E9C-101B-9397-08002B2CF9AE}" pid="6" name="AuthorIds_UIVersion_2048">
    <vt:lpwstr>24</vt:lpwstr>
  </property>
  <property fmtid="{D5CDD505-2E9C-101B-9397-08002B2CF9AE}" pid="7" name="MSIP_Label_ea60d57e-af5b-4752-ac57-3e4f28ca11dc_Enabled">
    <vt:lpwstr>true</vt:lpwstr>
  </property>
  <property fmtid="{D5CDD505-2E9C-101B-9397-08002B2CF9AE}" pid="8" name="MSIP_Label_ea60d57e-af5b-4752-ac57-3e4f28ca11dc_SetDate">
    <vt:lpwstr>2021-02-16T14:33:34Z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iteId">
    <vt:lpwstr>36da45f1-dd2c-4d1f-af13-5abe46b99921</vt:lpwstr>
  </property>
  <property fmtid="{D5CDD505-2E9C-101B-9397-08002B2CF9AE}" pid="12" name="MSIP_Label_ea60d57e-af5b-4752-ac57-3e4f28ca11dc_ActionId">
    <vt:lpwstr>b73dc702-817f-4263-8631-c0743d457cac</vt:lpwstr>
  </property>
  <property fmtid="{D5CDD505-2E9C-101B-9397-08002B2CF9AE}" pid="13" name="MSIP_Label_ea60d57e-af5b-4752-ac57-3e4f28ca11dc_ContentBits">
    <vt:lpwstr>0</vt:lpwstr>
  </property>
</Properties>
</file>